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theme/theme4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media/image14.jpg" ContentType="image/jpeg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media/image26.jpg" ContentType="image/jpeg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3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tags/tag5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06" r:id="rId5"/>
    <p:sldMasterId id="2147483648" r:id="rId6"/>
  </p:sldMasterIdLst>
  <p:notesMasterIdLst>
    <p:notesMasterId r:id="rId11"/>
  </p:notesMasterIdLst>
  <p:handoutMasterIdLst>
    <p:handoutMasterId r:id="rId12"/>
  </p:handoutMasterIdLst>
  <p:sldIdLst>
    <p:sldId id="269" r:id="rId7"/>
    <p:sldId id="257" r:id="rId8"/>
    <p:sldId id="261" r:id="rId9"/>
    <p:sldId id="268" r:id="rId10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202E"/>
    <a:srgbClr val="FFFFFF"/>
    <a:srgbClr val="E0E0E0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6A9555-5E18-4327-B29F-96C169D34379}" v="5532" dt="2024-10-29T22:16:16.018"/>
    <p1510:client id="{C443A5EB-7457-1B88-CADE-48805AE8D1E2}" v="380" dt="2024-10-29T18:11:35.9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17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ursell, John H. (Pursell, John H. Principal En" userId="S::john.pursell@honeywell.com::2cbe8f4a-0f13-4703-abfe-a46cfb446aa2" providerId="AD" clId="Web-{C443A5EB-7457-1B88-CADE-48805AE8D1E2}"/>
    <pc:docChg chg="addSld delSld modSld sldOrd addMainMaster modMainMaster">
      <pc:chgData name="Pursell, John H. (Pursell, John H. Principal En" userId="S::john.pursell@honeywell.com::2cbe8f4a-0f13-4703-abfe-a46cfb446aa2" providerId="AD" clId="Web-{C443A5EB-7457-1B88-CADE-48805AE8D1E2}" dt="2024-10-29T18:11:35.927" v="263" actId="1076"/>
      <pc:docMkLst>
        <pc:docMk/>
      </pc:docMkLst>
      <pc:sldChg chg="addSp delSp modSp add del">
        <pc:chgData name="Pursell, John H. (Pursell, John H. Principal En" userId="S::john.pursell@honeywell.com::2cbe8f4a-0f13-4703-abfe-a46cfb446aa2" providerId="AD" clId="Web-{C443A5EB-7457-1B88-CADE-48805AE8D1E2}" dt="2024-10-29T17:57:28.659" v="91"/>
        <pc:sldMkLst>
          <pc:docMk/>
          <pc:sldMk cId="3039407691" sldId="256"/>
        </pc:sldMkLst>
        <pc:spChg chg="del mod">
          <ac:chgData name="Pursell, John H. (Pursell, John H. Principal En" userId="S::john.pursell@honeywell.com::2cbe8f4a-0f13-4703-abfe-a46cfb446aa2" providerId="AD" clId="Web-{C443A5EB-7457-1B88-CADE-48805AE8D1E2}" dt="2024-10-29T17:55:31.045" v="81"/>
          <ac:spMkLst>
            <pc:docMk/>
            <pc:sldMk cId="3039407691" sldId="256"/>
            <ac:spMk id="4" creationId="{7099F808-141A-4075-A233-8F312E763086}"/>
          </ac:spMkLst>
        </pc:spChg>
        <pc:spChg chg="del mod">
          <ac:chgData name="Pursell, John H. (Pursell, John H. Principal En" userId="S::john.pursell@honeywell.com::2cbe8f4a-0f13-4703-abfe-a46cfb446aa2" providerId="AD" clId="Web-{C443A5EB-7457-1B88-CADE-48805AE8D1E2}" dt="2024-10-29T17:56:04.500" v="82"/>
          <ac:spMkLst>
            <pc:docMk/>
            <pc:sldMk cId="3039407691" sldId="256"/>
            <ac:spMk id="5" creationId="{A8212731-9353-43BE-9655-D8D4893BDBF9}"/>
          </ac:spMkLst>
        </pc:spChg>
        <pc:picChg chg="add mod">
          <ac:chgData name="Pursell, John H. (Pursell, John H. Principal En" userId="S::john.pursell@honeywell.com::2cbe8f4a-0f13-4703-abfe-a46cfb446aa2" providerId="AD" clId="Web-{C443A5EB-7457-1B88-CADE-48805AE8D1E2}" dt="2024-10-29T17:56:11.375" v="84" actId="1076"/>
          <ac:picMkLst>
            <pc:docMk/>
            <pc:sldMk cId="3039407691" sldId="256"/>
            <ac:picMk id="2" creationId="{7A3C8C96-5F8A-AA3D-7920-FED295D28737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3:47.291" v="68" actId="14100"/>
          <ac:picMkLst>
            <pc:docMk/>
            <pc:sldMk cId="3039407691" sldId="256"/>
            <ac:picMk id="3" creationId="{AE713BE8-5456-451B-8AFC-64E89C8E1B9E}"/>
          </ac:picMkLst>
        </pc:picChg>
        <pc:picChg chg="add del mod">
          <ac:chgData name="Pursell, John H. (Pursell, John H. Principal En" userId="S::john.pursell@honeywell.com::2cbe8f4a-0f13-4703-abfe-a46cfb446aa2" providerId="AD" clId="Web-{C443A5EB-7457-1B88-CADE-48805AE8D1E2}" dt="2024-10-29T17:56:40.001" v="88"/>
          <ac:picMkLst>
            <pc:docMk/>
            <pc:sldMk cId="3039407691" sldId="256"/>
            <ac:picMk id="8" creationId="{7277FDA1-1908-E3AC-DDFA-1B9BDECF400A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5:07.466" v="80" actId="14100"/>
          <ac:picMkLst>
            <pc:docMk/>
            <pc:sldMk cId="3039407691" sldId="256"/>
            <ac:picMk id="11" creationId="{67F32890-3791-4E6A-A410-E519612CB5F0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2:52.727" v="57" actId="1076"/>
          <ac:picMkLst>
            <pc:docMk/>
            <pc:sldMk cId="3039407691" sldId="256"/>
            <ac:picMk id="18" creationId="{56B3BC70-8853-49E9-A028-F6FCA6510015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0:59.972" v="41" actId="1076"/>
          <ac:picMkLst>
            <pc:docMk/>
            <pc:sldMk cId="3039407691" sldId="256"/>
            <ac:picMk id="1026" creationId="{2D495FA6-7331-49C8-8899-1EBA454C07E3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4:13.027" v="71" actId="14100"/>
          <ac:picMkLst>
            <pc:docMk/>
            <pc:sldMk cId="3039407691" sldId="256"/>
            <ac:picMk id="1028" creationId="{C08E1592-3B0E-4E3E-8F10-75AACA7C22F4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2:34.898" v="54" actId="14100"/>
          <ac:picMkLst>
            <pc:docMk/>
            <pc:sldMk cId="3039407691" sldId="256"/>
            <ac:picMk id="1030" creationId="{A488928A-CF4E-453B-82CE-F50D8C2B14AD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4:35.949" v="76" actId="14100"/>
          <ac:picMkLst>
            <pc:docMk/>
            <pc:sldMk cId="3039407691" sldId="256"/>
            <ac:picMk id="1032" creationId="{5062B430-18EE-4280-9FD5-3AF0E01C8555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4:22.277" v="73" actId="14100"/>
          <ac:picMkLst>
            <pc:docMk/>
            <pc:sldMk cId="3039407691" sldId="256"/>
            <ac:picMk id="1034" creationId="{C34182BE-1757-43E0-A4B1-5588B8B1201D}"/>
          </ac:picMkLst>
        </pc:picChg>
      </pc:sldChg>
      <pc:sldChg chg="modSp add">
        <pc:chgData name="Pursell, John H. (Pursell, John H. Principal En" userId="S::john.pursell@honeywell.com::2cbe8f4a-0f13-4703-abfe-a46cfb446aa2" providerId="AD" clId="Web-{C443A5EB-7457-1B88-CADE-48805AE8D1E2}" dt="2024-10-29T18:07:09.932" v="228" actId="20577"/>
        <pc:sldMkLst>
          <pc:docMk/>
          <pc:sldMk cId="0" sldId="257"/>
        </pc:sldMkLst>
        <pc:spChg chg="mod">
          <ac:chgData name="Pursell, John H. (Pursell, John H. Principal En" userId="S::john.pursell@honeywell.com::2cbe8f4a-0f13-4703-abfe-a46cfb446aa2" providerId="AD" clId="Web-{C443A5EB-7457-1B88-CADE-48805AE8D1E2}" dt="2024-10-29T18:07:09.932" v="228" actId="20577"/>
          <ac:spMkLst>
            <pc:docMk/>
            <pc:sldMk cId="0" sldId="257"/>
            <ac:spMk id="2" creationId="{00000000-0000-0000-0000-000000000000}"/>
          </ac:spMkLst>
        </pc:spChg>
        <pc:spChg chg="mod">
          <ac:chgData name="Pursell, John H. (Pursell, John H. Principal En" userId="S::john.pursell@honeywell.com::2cbe8f4a-0f13-4703-abfe-a46cfb446aa2" providerId="AD" clId="Web-{C443A5EB-7457-1B88-CADE-48805AE8D1E2}" dt="2024-10-29T18:06:17.977" v="212" actId="20577"/>
          <ac:spMkLst>
            <pc:docMk/>
            <pc:sldMk cId="0" sldId="257"/>
            <ac:spMk id="3" creationId="{00000000-0000-0000-0000-000000000000}"/>
          </ac:spMkLst>
        </pc:spChg>
        <pc:spChg chg="mod">
          <ac:chgData name="Pursell, John H. (Pursell, John H. Principal En" userId="S::john.pursell@honeywell.com::2cbe8f4a-0f13-4703-abfe-a46cfb446aa2" providerId="AD" clId="Web-{C443A5EB-7457-1B88-CADE-48805AE8D1E2}" dt="2024-10-29T18:04:02.753" v="185" actId="1076"/>
          <ac:spMkLst>
            <pc:docMk/>
            <pc:sldMk cId="0" sldId="257"/>
            <ac:spMk id="18" creationId="{50814659-1084-92EF-9ABA-86C4939AEC98}"/>
          </ac:spMkLst>
        </pc:spChg>
        <pc:spChg chg="mod">
          <ac:chgData name="Pursell, John H. (Pursell, John H. Principal En" userId="S::john.pursell@honeywell.com::2cbe8f4a-0f13-4703-abfe-a46cfb446aa2" providerId="AD" clId="Web-{C443A5EB-7457-1B88-CADE-48805AE8D1E2}" dt="2024-10-29T18:03:58.284" v="184" actId="1076"/>
          <ac:spMkLst>
            <pc:docMk/>
            <pc:sldMk cId="0" sldId="257"/>
            <ac:spMk id="19" creationId="{8F03A496-7F55-5336-DA53-7CACB8510E44}"/>
          </ac:spMkLst>
        </pc:spChg>
        <pc:picChg chg="mod">
          <ac:chgData name="Pursell, John H. (Pursell, John H. Principal En" userId="S::john.pursell@honeywell.com::2cbe8f4a-0f13-4703-abfe-a46cfb446aa2" providerId="AD" clId="Web-{C443A5EB-7457-1B88-CADE-48805AE8D1E2}" dt="2024-10-29T18:03:50.784" v="183" actId="14100"/>
          <ac:picMkLst>
            <pc:docMk/>
            <pc:sldMk cId="0" sldId="257"/>
            <ac:picMk id="9" creationId="{00000000-0000-0000-0000-000000000000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8:04:08.862" v="186" actId="1076"/>
          <ac:picMkLst>
            <pc:docMk/>
            <pc:sldMk cId="0" sldId="257"/>
            <ac:picMk id="13" creationId="{CB966D60-B48F-491B-1A92-A951B74BD9E8}"/>
          </ac:picMkLst>
        </pc:picChg>
        <pc:cxnChg chg="mod">
          <ac:chgData name="Pursell, John H. (Pursell, John H. Principal En" userId="S::john.pursell@honeywell.com::2cbe8f4a-0f13-4703-abfe-a46cfb446aa2" providerId="AD" clId="Web-{C443A5EB-7457-1B88-CADE-48805AE8D1E2}" dt="2024-10-29T18:04:11.972" v="187" actId="1076"/>
          <ac:cxnSpMkLst>
            <pc:docMk/>
            <pc:sldMk cId="0" sldId="257"/>
            <ac:cxnSpMk id="16" creationId="{5F4B3FDC-159E-A03B-BC7F-682847581682}"/>
          </ac:cxnSpMkLst>
        </pc:cxnChg>
      </pc:sldChg>
      <pc:sldChg chg="modSp add">
        <pc:chgData name="Pursell, John H. (Pursell, John H. Principal En" userId="S::john.pursell@honeywell.com::2cbe8f4a-0f13-4703-abfe-a46cfb446aa2" providerId="AD" clId="Web-{C443A5EB-7457-1B88-CADE-48805AE8D1E2}" dt="2024-10-29T18:11:35.927" v="263" actId="1076"/>
        <pc:sldMkLst>
          <pc:docMk/>
          <pc:sldMk cId="0" sldId="261"/>
        </pc:sldMkLst>
        <pc:spChg chg="mod">
          <ac:chgData name="Pursell, John H. (Pursell, John H. Principal En" userId="S::john.pursell@honeywell.com::2cbe8f4a-0f13-4703-abfe-a46cfb446aa2" providerId="AD" clId="Web-{C443A5EB-7457-1B88-CADE-48805AE8D1E2}" dt="2024-10-29T18:11:33.927" v="262" actId="20577"/>
          <ac:spMkLst>
            <pc:docMk/>
            <pc:sldMk cId="0" sldId="261"/>
            <ac:spMk id="2" creationId="{00000000-0000-0000-0000-000000000000}"/>
          </ac:spMkLst>
        </pc:spChg>
        <pc:spChg chg="mod">
          <ac:chgData name="Pursell, John H. (Pursell, John H. Principal En" userId="S::john.pursell@honeywell.com::2cbe8f4a-0f13-4703-abfe-a46cfb446aa2" providerId="AD" clId="Web-{C443A5EB-7457-1B88-CADE-48805AE8D1E2}" dt="2024-10-29T18:06:36.900" v="225" actId="20577"/>
          <ac:spMkLst>
            <pc:docMk/>
            <pc:sldMk cId="0" sldId="261"/>
            <ac:spMk id="6" creationId="{00000000-0000-0000-0000-000000000000}"/>
          </ac:spMkLst>
        </pc:spChg>
        <pc:picChg chg="mod">
          <ac:chgData name="Pursell, John H. (Pursell, John H. Principal En" userId="S::john.pursell@honeywell.com::2cbe8f4a-0f13-4703-abfe-a46cfb446aa2" providerId="AD" clId="Web-{C443A5EB-7457-1B88-CADE-48805AE8D1E2}" dt="2024-10-29T18:11:35.927" v="263" actId="1076"/>
          <ac:picMkLst>
            <pc:docMk/>
            <pc:sldMk cId="0" sldId="261"/>
            <ac:picMk id="12" creationId="{04E740C1-C06A-F6E3-BD52-4F8AB69EEC3A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8:07:45.668" v="234" actId="1076"/>
          <ac:picMkLst>
            <pc:docMk/>
            <pc:sldMk cId="0" sldId="261"/>
            <ac:picMk id="13" creationId="{E08DD814-4B5A-2CD0-3C6D-8F8AB9EE79F8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8:07:48.512" v="235" actId="1076"/>
          <ac:picMkLst>
            <pc:docMk/>
            <pc:sldMk cId="0" sldId="261"/>
            <ac:picMk id="14" creationId="{7DDA5F98-9DCF-A5D1-FDA0-1DC69089BC89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8:07:54.871" v="237" actId="14100"/>
          <ac:picMkLst>
            <pc:docMk/>
            <pc:sldMk cId="0" sldId="261"/>
            <ac:picMk id="1029" creationId="{6B0C6D54-B941-C78A-6EF9-832D18ECCE9B}"/>
          </ac:picMkLst>
        </pc:picChg>
      </pc:sldChg>
      <pc:sldChg chg="modSp add">
        <pc:chgData name="Pursell, John H. (Pursell, John H. Principal En" userId="S::john.pursell@honeywell.com::2cbe8f4a-0f13-4703-abfe-a46cfb446aa2" providerId="AD" clId="Web-{C443A5EB-7457-1B88-CADE-48805AE8D1E2}" dt="2024-10-29T18:09:21.359" v="254" actId="20577"/>
        <pc:sldMkLst>
          <pc:docMk/>
          <pc:sldMk cId="0" sldId="268"/>
        </pc:sldMkLst>
        <pc:spChg chg="mod">
          <ac:chgData name="Pursell, John H. (Pursell, John H. Principal En" userId="S::john.pursell@honeywell.com::2cbe8f4a-0f13-4703-abfe-a46cfb446aa2" providerId="AD" clId="Web-{C443A5EB-7457-1B88-CADE-48805AE8D1E2}" dt="2024-10-29T18:09:21.359" v="254" actId="20577"/>
          <ac:spMkLst>
            <pc:docMk/>
            <pc:sldMk cId="0" sldId="268"/>
            <ac:spMk id="2" creationId="{00000000-0000-0000-0000-000000000000}"/>
          </ac:spMkLst>
        </pc:spChg>
        <pc:spChg chg="mod">
          <ac:chgData name="Pursell, John H. (Pursell, John H. Principal En" userId="S::john.pursell@honeywell.com::2cbe8f4a-0f13-4703-abfe-a46cfb446aa2" providerId="AD" clId="Web-{C443A5EB-7457-1B88-CADE-48805AE8D1E2}" dt="2024-10-29T18:09:06.327" v="246" actId="1076"/>
          <ac:spMkLst>
            <pc:docMk/>
            <pc:sldMk cId="0" sldId="268"/>
            <ac:spMk id="3" creationId="{00000000-0000-0000-0000-000000000000}"/>
          </ac:spMkLst>
        </pc:spChg>
        <pc:spChg chg="mod">
          <ac:chgData name="Pursell, John H. (Pursell, John H. Principal En" userId="S::john.pursell@honeywell.com::2cbe8f4a-0f13-4703-abfe-a46cfb446aa2" providerId="AD" clId="Web-{C443A5EB-7457-1B88-CADE-48805AE8D1E2}" dt="2024-10-29T18:08:34.389" v="239" actId="20577"/>
          <ac:spMkLst>
            <pc:docMk/>
            <pc:sldMk cId="0" sldId="268"/>
            <ac:spMk id="4" creationId="{00000000-0000-0000-0000-000000000000}"/>
          </ac:spMkLst>
        </pc:spChg>
        <pc:picChg chg="mod">
          <ac:chgData name="Pursell, John H. (Pursell, John H. Principal En" userId="S::john.pursell@honeywell.com::2cbe8f4a-0f13-4703-abfe-a46cfb446aa2" providerId="AD" clId="Web-{C443A5EB-7457-1B88-CADE-48805AE8D1E2}" dt="2024-10-29T18:09:02.499" v="245" actId="14100"/>
          <ac:picMkLst>
            <pc:docMk/>
            <pc:sldMk cId="0" sldId="268"/>
            <ac:picMk id="9" creationId="{D119438C-87D6-16D0-1E01-F2A7E34872A1}"/>
          </ac:picMkLst>
        </pc:picChg>
      </pc:sldChg>
      <pc:sldChg chg="new del">
        <pc:chgData name="Pursell, John H. (Pursell, John H. Principal En" userId="S::john.pursell@honeywell.com::2cbe8f4a-0f13-4703-abfe-a46cfb446aa2" providerId="AD" clId="Web-{C443A5EB-7457-1B88-CADE-48805AE8D1E2}" dt="2024-10-29T17:41:32.512" v="19"/>
        <pc:sldMkLst>
          <pc:docMk/>
          <pc:sldMk cId="2642463133" sldId="269"/>
        </pc:sldMkLst>
      </pc:sldChg>
      <pc:sldChg chg="delSp modSp add">
        <pc:chgData name="Pursell, John H. (Pursell, John H. Principal En" userId="S::john.pursell@honeywell.com::2cbe8f4a-0f13-4703-abfe-a46cfb446aa2" providerId="AD" clId="Web-{C443A5EB-7457-1B88-CADE-48805AE8D1E2}" dt="2024-10-29T18:10:14.752" v="258" actId="1076"/>
        <pc:sldMkLst>
          <pc:docMk/>
          <pc:sldMk cId="3408776243" sldId="269"/>
        </pc:sldMkLst>
        <pc:spChg chg="mod">
          <ac:chgData name="Pursell, John H. (Pursell, John H. Principal En" userId="S::john.pursell@honeywell.com::2cbe8f4a-0f13-4703-abfe-a46cfb446aa2" providerId="AD" clId="Web-{C443A5EB-7457-1B88-CADE-48805AE8D1E2}" dt="2024-10-29T17:58:41.475" v="104" actId="1076"/>
          <ac:spMkLst>
            <pc:docMk/>
            <pc:sldMk cId="3408776243" sldId="269"/>
            <ac:spMk id="4" creationId="{7099F808-141A-4075-A233-8F312E763086}"/>
          </ac:spMkLst>
        </pc:spChg>
        <pc:spChg chg="mod">
          <ac:chgData name="Pursell, John H. (Pursell, John H. Principal En" userId="S::john.pursell@honeywell.com::2cbe8f4a-0f13-4703-abfe-a46cfb446aa2" providerId="AD" clId="Web-{C443A5EB-7457-1B88-CADE-48805AE8D1E2}" dt="2024-10-29T17:58:44.162" v="105" actId="1076"/>
          <ac:spMkLst>
            <pc:docMk/>
            <pc:sldMk cId="3408776243" sldId="269"/>
            <ac:spMk id="5" creationId="{A8212731-9353-43BE-9655-D8D4893BDBF9}"/>
          </ac:spMkLst>
        </pc:spChg>
        <pc:spChg chg="mod">
          <ac:chgData name="Pursell, John H. (Pursell, John H. Principal En" userId="S::john.pursell@honeywell.com::2cbe8f4a-0f13-4703-abfe-a46cfb446aa2" providerId="AD" clId="Web-{C443A5EB-7457-1B88-CADE-48805AE8D1E2}" dt="2024-10-29T18:00:28.010" v="136" actId="1076"/>
          <ac:spMkLst>
            <pc:docMk/>
            <pc:sldMk cId="3408776243" sldId="269"/>
            <ac:spMk id="6" creationId="{FA1EF08A-88F2-4165-A502-BA6D4158892E}"/>
          </ac:spMkLst>
        </pc:spChg>
        <pc:spChg chg="mod">
          <ac:chgData name="Pursell, John H. (Pursell, John H. Principal En" userId="S::john.pursell@honeywell.com::2cbe8f4a-0f13-4703-abfe-a46cfb446aa2" providerId="AD" clId="Web-{C443A5EB-7457-1B88-CADE-48805AE8D1E2}" dt="2024-10-29T18:09:45.563" v="256" actId="20577"/>
          <ac:spMkLst>
            <pc:docMk/>
            <pc:sldMk cId="3408776243" sldId="269"/>
            <ac:spMk id="7" creationId="{49272B33-11EF-4F10-8717-EBB1448A7969}"/>
          </ac:spMkLst>
        </pc:spChg>
        <pc:spChg chg="del">
          <ac:chgData name="Pursell, John H. (Pursell, John H. Principal En" userId="S::john.pursell@honeywell.com::2cbe8f4a-0f13-4703-abfe-a46cfb446aa2" providerId="AD" clId="Web-{C443A5EB-7457-1B88-CADE-48805AE8D1E2}" dt="2024-10-29T17:59:18.664" v="117"/>
          <ac:spMkLst>
            <pc:docMk/>
            <pc:sldMk cId="3408776243" sldId="269"/>
            <ac:spMk id="15" creationId="{5E87C009-780F-4EA3-87FE-29A650096A77}"/>
          </ac:spMkLst>
        </pc:spChg>
        <pc:picChg chg="mod">
          <ac:chgData name="Pursell, John H. (Pursell, John H. Principal En" userId="S::john.pursell@honeywell.com::2cbe8f4a-0f13-4703-abfe-a46cfb446aa2" providerId="AD" clId="Web-{C443A5EB-7457-1B88-CADE-48805AE8D1E2}" dt="2024-10-29T17:57:46.316" v="96" actId="1076"/>
          <ac:picMkLst>
            <pc:docMk/>
            <pc:sldMk cId="3408776243" sldId="269"/>
            <ac:picMk id="3" creationId="{AE713BE8-5456-451B-8AFC-64E89C8E1B9E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8:00:24.541" v="135" actId="1076"/>
          <ac:picMkLst>
            <pc:docMk/>
            <pc:sldMk cId="3408776243" sldId="269"/>
            <ac:picMk id="10" creationId="{FAB5C03C-7669-408B-BBCE-C007254F65C3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8:13.974" v="100" actId="14100"/>
          <ac:picMkLst>
            <pc:docMk/>
            <pc:sldMk cId="3408776243" sldId="269"/>
            <ac:picMk id="11" creationId="{67F32890-3791-4E6A-A410-E519612CB5F0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8:10:14.752" v="258" actId="1076"/>
          <ac:picMkLst>
            <pc:docMk/>
            <pc:sldMk cId="3408776243" sldId="269"/>
            <ac:picMk id="18" creationId="{56B3BC70-8853-49E9-A028-F6FCA6510015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7:34.878" v="92" actId="1076"/>
          <ac:picMkLst>
            <pc:docMk/>
            <pc:sldMk cId="3408776243" sldId="269"/>
            <ac:picMk id="1026" creationId="{2D495FA6-7331-49C8-8899-1EBA454C07E3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7:41.004" v="94" actId="1076"/>
          <ac:picMkLst>
            <pc:docMk/>
            <pc:sldMk cId="3408776243" sldId="269"/>
            <ac:picMk id="1028" creationId="{C08E1592-3B0E-4E3E-8F10-75AACA7C22F4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7:37.363" v="93" actId="1076"/>
          <ac:picMkLst>
            <pc:docMk/>
            <pc:sldMk cId="3408776243" sldId="269"/>
            <ac:picMk id="1030" creationId="{A488928A-CF4E-453B-82CE-F50D8C2B14AD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8:09:57.142" v="257" actId="1076"/>
          <ac:picMkLst>
            <pc:docMk/>
            <pc:sldMk cId="3408776243" sldId="269"/>
            <ac:picMk id="1032" creationId="{5062B430-18EE-4280-9FD5-3AF0E01C8555}"/>
          </ac:picMkLst>
        </pc:picChg>
        <pc:picChg chg="mod">
          <ac:chgData name="Pursell, John H. (Pursell, John H. Principal En" userId="S::john.pursell@honeywell.com::2cbe8f4a-0f13-4703-abfe-a46cfb446aa2" providerId="AD" clId="Web-{C443A5EB-7457-1B88-CADE-48805AE8D1E2}" dt="2024-10-29T17:58:04.520" v="99" actId="14100"/>
          <ac:picMkLst>
            <pc:docMk/>
            <pc:sldMk cId="3408776243" sldId="269"/>
            <ac:picMk id="1034" creationId="{C34182BE-1757-43E0-A4B1-5588B8B1201D}"/>
          </ac:picMkLst>
        </pc:picChg>
      </pc:sldChg>
      <pc:sldChg chg="addSp delSp modSp new del ord">
        <pc:chgData name="Pursell, John H. (Pursell, John H. Principal En" userId="S::john.pursell@honeywell.com::2cbe8f4a-0f13-4703-abfe-a46cfb446aa2" providerId="AD" clId="Web-{C443A5EB-7457-1B88-CADE-48805AE8D1E2}" dt="2024-10-29T17:50:35.221" v="40"/>
        <pc:sldMkLst>
          <pc:docMk/>
          <pc:sldMk cId="4121533395" sldId="269"/>
        </pc:sldMkLst>
        <pc:spChg chg="del">
          <ac:chgData name="Pursell, John H. (Pursell, John H. Principal En" userId="S::john.pursell@honeywell.com::2cbe8f4a-0f13-4703-abfe-a46cfb446aa2" providerId="AD" clId="Web-{C443A5EB-7457-1B88-CADE-48805AE8D1E2}" dt="2024-10-29T17:42:07.123" v="23"/>
          <ac:spMkLst>
            <pc:docMk/>
            <pc:sldMk cId="4121533395" sldId="269"/>
            <ac:spMk id="2" creationId="{CDA04A70-B470-8E9A-75E6-81FA87168173}"/>
          </ac:spMkLst>
        </pc:spChg>
        <pc:spChg chg="del">
          <ac:chgData name="Pursell, John H. (Pursell, John H. Principal En" userId="S::john.pursell@honeywell.com::2cbe8f4a-0f13-4703-abfe-a46cfb446aa2" providerId="AD" clId="Web-{C443A5EB-7457-1B88-CADE-48805AE8D1E2}" dt="2024-10-29T17:42:08.545" v="24"/>
          <ac:spMkLst>
            <pc:docMk/>
            <pc:sldMk cId="4121533395" sldId="269"/>
            <ac:spMk id="3" creationId="{C4DD9F53-805B-9C16-7F83-60286A3E6642}"/>
          </ac:spMkLst>
        </pc:spChg>
        <pc:picChg chg="add mod">
          <ac:chgData name="Pursell, John H. (Pursell, John H. Principal En" userId="S::john.pursell@honeywell.com::2cbe8f4a-0f13-4703-abfe-a46cfb446aa2" providerId="AD" clId="Web-{C443A5EB-7457-1B88-CADE-48805AE8D1E2}" dt="2024-10-29T17:48:45.936" v="29" actId="14100"/>
          <ac:picMkLst>
            <pc:docMk/>
            <pc:sldMk cId="4121533395" sldId="269"/>
            <ac:picMk id="6" creationId="{11B9FCEC-0A0B-D4FA-1BD8-3CB9E98A47BC}"/>
          </ac:picMkLst>
        </pc:picChg>
        <pc:picChg chg="add mod">
          <ac:chgData name="Pursell, John H. (Pursell, John H. Principal En" userId="S::john.pursell@honeywell.com::2cbe8f4a-0f13-4703-abfe-a46cfb446aa2" providerId="AD" clId="Web-{C443A5EB-7457-1B88-CADE-48805AE8D1E2}" dt="2024-10-29T17:49:08.671" v="35" actId="14100"/>
          <ac:picMkLst>
            <pc:docMk/>
            <pc:sldMk cId="4121533395" sldId="269"/>
            <ac:picMk id="7" creationId="{905576C1-05E0-2CC4-7C27-787D542C9F29}"/>
          </ac:picMkLst>
        </pc:picChg>
        <pc:picChg chg="add mod">
          <ac:chgData name="Pursell, John H. (Pursell, John H. Principal En" userId="S::john.pursell@honeywell.com::2cbe8f4a-0f13-4703-abfe-a46cfb446aa2" providerId="AD" clId="Web-{C443A5EB-7457-1B88-CADE-48805AE8D1E2}" dt="2024-10-29T17:50:26.299" v="38" actId="14100"/>
          <ac:picMkLst>
            <pc:docMk/>
            <pc:sldMk cId="4121533395" sldId="269"/>
            <ac:picMk id="8" creationId="{B0269820-37E7-FEAC-6744-4FA47450ECFF}"/>
          </ac:picMkLst>
        </pc:picChg>
      </pc:sldChg>
      <pc:sldChg chg="modSp del">
        <pc:chgData name="Pursell, John H. (Pursell, John H. Principal En" userId="S::john.pursell@honeywell.com::2cbe8f4a-0f13-4703-abfe-a46cfb446aa2" providerId="AD" clId="Web-{C443A5EB-7457-1B88-CADE-48805AE8D1E2}" dt="2024-10-29T17:36:13.578" v="5"/>
        <pc:sldMkLst>
          <pc:docMk/>
          <pc:sldMk cId="3391782982" sldId="364"/>
        </pc:sldMkLst>
        <pc:spChg chg="mod">
          <ac:chgData name="Pursell, John H. (Pursell, John H. Principal En" userId="S::john.pursell@honeywell.com::2cbe8f4a-0f13-4703-abfe-a46cfb446aa2" providerId="AD" clId="Web-{C443A5EB-7457-1B88-CADE-48805AE8D1E2}" dt="2024-10-29T15:37:32.988" v="0" actId="20577"/>
          <ac:spMkLst>
            <pc:docMk/>
            <pc:sldMk cId="3391782982" sldId="364"/>
            <ac:spMk id="3" creationId="{7A958243-DAA1-46D9-BCE5-223AA7FDB737}"/>
          </ac:spMkLst>
        </pc:spChg>
      </pc:sldChg>
      <pc:sldMasterChg chg="add addSldLayout">
        <pc:chgData name="Pursell, John H. (Pursell, John H. Principal En" userId="S::john.pursell@honeywell.com::2cbe8f4a-0f13-4703-abfe-a46cfb446aa2" providerId="AD" clId="Web-{C443A5EB-7457-1B88-CADE-48805AE8D1E2}" dt="2024-10-29T17:57:21.972" v="90"/>
        <pc:sldMasterMkLst>
          <pc:docMk/>
          <pc:sldMasterMk cId="2402040483" sldId="2147483648"/>
        </pc:sldMasterMkLst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3452310441" sldId="2147483649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2303703972" sldId="2147483650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266808796" sldId="2147483651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1253000984" sldId="2147483652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381572377" sldId="2147483653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4223020563" sldId="2147483654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2771937668" sldId="2147483655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1007552780" sldId="2147483656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3499952889" sldId="2147483657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301720723" sldId="2147483658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2402040483" sldId="2147483648"/>
            <pc:sldLayoutMk cId="4172727916" sldId="2147483659"/>
          </pc:sldLayoutMkLst>
        </pc:sldLayoutChg>
      </pc:sldMasterChg>
      <pc:sldMasterChg chg="replId addSldLayout modSldLayout">
        <pc:chgData name="Pursell, John H. (Pursell, John H. Principal En" userId="S::john.pursell@honeywell.com::2cbe8f4a-0f13-4703-abfe-a46cfb446aa2" providerId="AD" clId="Web-{C443A5EB-7457-1B88-CADE-48805AE8D1E2}" dt="2024-10-29T17:57:21.972" v="90"/>
        <pc:sldMasterMkLst>
          <pc:docMk/>
          <pc:sldMasterMk cId="1961464670" sldId="2147483706"/>
        </pc:sldMasterMkLst>
        <pc:sldLayoutChg chg="add">
          <pc:chgData name="Pursell, John H. (Pursell, John H. Principal En" userId="S::john.pursell@honeywell.com::2cbe8f4a-0f13-4703-abfe-a46cfb446aa2" providerId="AD" clId="Web-{C443A5EB-7457-1B88-CADE-48805AE8D1E2}" dt="2024-10-29T17:35:57.312" v="1"/>
          <pc:sldLayoutMkLst>
            <pc:docMk/>
            <pc:sldMasterMk cId="1961464670" sldId="2147483706"/>
            <pc:sldLayoutMk cId="1271105766" sldId="2147483704"/>
          </pc:sldLayoutMkLst>
        </pc:sldLayoutChg>
        <pc:sldLayoutChg chg="add">
          <pc:chgData name="Pursell, John H. (Pursell, John H. Principal En" userId="S::john.pursell@honeywell.com::2cbe8f4a-0f13-4703-abfe-a46cfb446aa2" providerId="AD" clId="Web-{C443A5EB-7457-1B88-CADE-48805AE8D1E2}" dt="2024-10-29T17:35:57.359" v="2"/>
          <pc:sldLayoutMkLst>
            <pc:docMk/>
            <pc:sldMasterMk cId="1961464670" sldId="2147483706"/>
            <pc:sldLayoutMk cId="2686532907" sldId="2147483705"/>
          </pc:sldLayoutMkLst>
        </pc:sldLayoutChg>
        <pc:sldLayoutChg chg="replI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1961464670" sldId="2147483706"/>
            <pc:sldLayoutMk cId="820308065" sldId="2147483707"/>
          </pc:sldLayoutMkLst>
        </pc:sldLayoutChg>
        <pc:sldLayoutChg chg="replI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1961464670" sldId="2147483706"/>
            <pc:sldLayoutMk cId="3474014617" sldId="2147483708"/>
          </pc:sldLayoutMkLst>
        </pc:sldLayoutChg>
        <pc:sldLayoutChg chg="replI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1961464670" sldId="2147483706"/>
            <pc:sldLayoutMk cId="70949447" sldId="2147483709"/>
          </pc:sldLayoutMkLst>
        </pc:sldLayoutChg>
        <pc:sldLayoutChg chg="replI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1961464670" sldId="2147483706"/>
            <pc:sldLayoutMk cId="578199084" sldId="2147483710"/>
          </pc:sldLayoutMkLst>
        </pc:sldLayoutChg>
        <pc:sldLayoutChg chg="replI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1961464670" sldId="2147483706"/>
            <pc:sldLayoutMk cId="1990648448" sldId="2147483711"/>
          </pc:sldLayoutMkLst>
        </pc:sldLayoutChg>
        <pc:sldLayoutChg chg="replI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1961464670" sldId="2147483706"/>
            <pc:sldLayoutMk cId="4115104953" sldId="2147483712"/>
          </pc:sldLayoutMkLst>
        </pc:sldLayoutChg>
        <pc:sldLayoutChg chg="replI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1961464670" sldId="2147483706"/>
            <pc:sldLayoutMk cId="889829019" sldId="2147483713"/>
          </pc:sldLayoutMkLst>
        </pc:sldLayoutChg>
        <pc:sldLayoutChg chg="replI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1961464670" sldId="2147483706"/>
            <pc:sldLayoutMk cId="1728260855" sldId="2147483714"/>
          </pc:sldLayoutMkLst>
        </pc:sldLayoutChg>
        <pc:sldLayoutChg chg="replId">
          <pc:chgData name="Pursell, John H. (Pursell, John H. Principal En" userId="S::john.pursell@honeywell.com::2cbe8f4a-0f13-4703-abfe-a46cfb446aa2" providerId="AD" clId="Web-{C443A5EB-7457-1B88-CADE-48805AE8D1E2}" dt="2024-10-29T17:57:21.972" v="90"/>
          <pc:sldLayoutMkLst>
            <pc:docMk/>
            <pc:sldMasterMk cId="1961464670" sldId="2147483706"/>
            <pc:sldLayoutMk cId="3174024505" sldId="2147483715"/>
          </pc:sldLayoutMkLst>
        </pc:sldLayoutChg>
      </pc:sldMasterChg>
    </pc:docChg>
  </pc:docChgLst>
  <pc:docChgLst>
    <pc:chgData name="Souther, Tyler" userId="875bc1d9-c1cb-4c7c-a5eb-f3e350e514db" providerId="ADAL" clId="{B16A9555-5E18-4327-B29F-96C169D34379}"/>
    <pc:docChg chg="custSel modSld modMainMaster modNotesMaster modHandout">
      <pc:chgData name="Souther, Tyler" userId="875bc1d9-c1cb-4c7c-a5eb-f3e350e514db" providerId="ADAL" clId="{B16A9555-5E18-4327-B29F-96C169D34379}" dt="2024-10-29T22:16:15.995" v="9050" actId="947"/>
      <pc:docMkLst>
        <pc:docMk/>
      </pc:docMkLst>
      <pc:sldChg chg="addSp modSp mod modNotes">
        <pc:chgData name="Souther, Tyler" userId="875bc1d9-c1cb-4c7c-a5eb-f3e350e514db" providerId="ADAL" clId="{B16A9555-5E18-4327-B29F-96C169D34379}" dt="2024-10-29T22:16:15.976" v="9020" actId="947"/>
        <pc:sldMkLst>
          <pc:docMk/>
          <pc:sldMk cId="0" sldId="257"/>
        </pc:sldMkLst>
        <pc:spChg chg="mod">
          <ac:chgData name="Souther, Tyler" userId="875bc1d9-c1cb-4c7c-a5eb-f3e350e514db" providerId="ADAL" clId="{B16A9555-5E18-4327-B29F-96C169D34379}" dt="2024-10-29T22:15:00.456" v="6768" actId="12"/>
          <ac:spMkLst>
            <pc:docMk/>
            <pc:sldMk cId="0" sldId="257"/>
            <ac:spMk id="2" creationId="{00000000-0000-0000-0000-000000000000}"/>
          </ac:spMkLst>
        </pc:spChg>
        <pc:spChg chg="add mod">
          <ac:chgData name="Souther, Tyler" userId="875bc1d9-c1cb-4c7c-a5eb-f3e350e514db" providerId="ADAL" clId="{B16A9555-5E18-4327-B29F-96C169D34379}" dt="2024-10-29T22:16:15.945" v="8968" actId="947"/>
          <ac:spMkLst>
            <pc:docMk/>
            <pc:sldMk cId="0" sldId="257"/>
            <ac:spMk id="6" creationId="{3B3A04B0-7B79-46F3-BF0A-D5F872B112C1}"/>
          </ac:spMkLst>
        </pc:spChg>
        <pc:grpChg chg="add mod">
          <ac:chgData name="Souther, Tyler" userId="875bc1d9-c1cb-4c7c-a5eb-f3e350e514db" providerId="ADAL" clId="{B16A9555-5E18-4327-B29F-96C169D34379}" dt="2024-10-29T22:11:44.386" v="548" actId="1076"/>
          <ac:grpSpMkLst>
            <pc:docMk/>
            <pc:sldMk cId="0" sldId="257"/>
            <ac:grpSpMk id="5" creationId="{7C124EFF-6314-46DE-BEB3-C0128436D7C9}"/>
          </ac:grpSpMkLst>
        </pc:grpChg>
        <pc:picChg chg="mod">
          <ac:chgData name="Souther, Tyler" userId="875bc1d9-c1cb-4c7c-a5eb-f3e350e514db" providerId="ADAL" clId="{B16A9555-5E18-4327-B29F-96C169D34379}" dt="2024-10-29T22:11:27.206" v="0" actId="164"/>
          <ac:picMkLst>
            <pc:docMk/>
            <pc:sldMk cId="0" sldId="257"/>
            <ac:picMk id="9" creationId="{00000000-0000-0000-0000-000000000000}"/>
          </ac:picMkLst>
        </pc:picChg>
        <pc:picChg chg="mod">
          <ac:chgData name="Souther, Tyler" userId="875bc1d9-c1cb-4c7c-a5eb-f3e350e514db" providerId="ADAL" clId="{B16A9555-5E18-4327-B29F-96C169D34379}" dt="2024-10-29T22:11:27.206" v="0" actId="164"/>
          <ac:picMkLst>
            <pc:docMk/>
            <pc:sldMk cId="0" sldId="257"/>
            <ac:picMk id="13" creationId="{CB966D60-B48F-491B-1A92-A951B74BD9E8}"/>
          </ac:picMkLst>
        </pc:picChg>
        <pc:cxnChg chg="mod">
          <ac:chgData name="Souther, Tyler" userId="875bc1d9-c1cb-4c7c-a5eb-f3e350e514db" providerId="ADAL" clId="{B16A9555-5E18-4327-B29F-96C169D34379}" dt="2024-10-29T22:11:27.206" v="0" actId="164"/>
          <ac:cxnSpMkLst>
            <pc:docMk/>
            <pc:sldMk cId="0" sldId="257"/>
            <ac:cxnSpMk id="16" creationId="{5F4B3FDC-159E-A03B-BC7F-682847581682}"/>
          </ac:cxnSpMkLst>
        </pc:cxnChg>
      </pc:sldChg>
      <pc:sldChg chg="addSp modSp mod modNotes">
        <pc:chgData name="Souther, Tyler" userId="875bc1d9-c1cb-4c7c-a5eb-f3e350e514db" providerId="ADAL" clId="{B16A9555-5E18-4327-B29F-96C169D34379}" dt="2024-10-29T22:16:15.984" v="9030" actId="947"/>
        <pc:sldMkLst>
          <pc:docMk/>
          <pc:sldMk cId="0" sldId="261"/>
        </pc:sldMkLst>
        <pc:spChg chg="mod">
          <ac:chgData name="Souther, Tyler" userId="875bc1d9-c1cb-4c7c-a5eb-f3e350e514db" providerId="ADAL" clId="{B16A9555-5E18-4327-B29F-96C169D34379}" dt="2024-10-29T22:15:20.353" v="6990" actId="12"/>
          <ac:spMkLst>
            <pc:docMk/>
            <pc:sldMk cId="0" sldId="261"/>
            <ac:spMk id="2" creationId="{00000000-0000-0000-0000-000000000000}"/>
          </ac:spMkLst>
        </pc:spChg>
        <pc:spChg chg="add mod">
          <ac:chgData name="Souther, Tyler" userId="875bc1d9-c1cb-4c7c-a5eb-f3e350e514db" providerId="ADAL" clId="{B16A9555-5E18-4327-B29F-96C169D34379}" dt="2024-10-29T22:16:15.952" v="8979" actId="947"/>
          <ac:spMkLst>
            <pc:docMk/>
            <pc:sldMk cId="0" sldId="261"/>
            <ac:spMk id="3" creationId="{BAC721E8-6298-4312-B5E9-71FDFFE573CA}"/>
          </ac:spMkLst>
        </pc:spChg>
        <pc:grpChg chg="add mod">
          <ac:chgData name="Souther, Tyler" userId="875bc1d9-c1cb-4c7c-a5eb-f3e350e514db" providerId="ADAL" clId="{B16A9555-5E18-4327-B29F-96C169D34379}" dt="2024-10-29T22:13:16.356" v="3667" actId="1076"/>
          <ac:grpSpMkLst>
            <pc:docMk/>
            <pc:sldMk cId="0" sldId="261"/>
            <ac:grpSpMk id="4" creationId="{7ABD8BE8-9229-49D9-A1F9-B2215C465C40}"/>
          </ac:grpSpMkLst>
        </pc:grpChg>
        <pc:picChg chg="mod">
          <ac:chgData name="Souther, Tyler" userId="875bc1d9-c1cb-4c7c-a5eb-f3e350e514db" providerId="ADAL" clId="{B16A9555-5E18-4327-B29F-96C169D34379}" dt="2024-10-29T22:13:13.893" v="3666" actId="164"/>
          <ac:picMkLst>
            <pc:docMk/>
            <pc:sldMk cId="0" sldId="261"/>
            <ac:picMk id="12" creationId="{04E740C1-C06A-F6E3-BD52-4F8AB69EEC3A}"/>
          </ac:picMkLst>
        </pc:picChg>
        <pc:picChg chg="mod">
          <ac:chgData name="Souther, Tyler" userId="875bc1d9-c1cb-4c7c-a5eb-f3e350e514db" providerId="ADAL" clId="{B16A9555-5E18-4327-B29F-96C169D34379}" dt="2024-10-29T22:13:13.893" v="3666" actId="164"/>
          <ac:picMkLst>
            <pc:docMk/>
            <pc:sldMk cId="0" sldId="261"/>
            <ac:picMk id="13" creationId="{E08DD814-4B5A-2CD0-3C6D-8F8AB9EE79F8}"/>
          </ac:picMkLst>
        </pc:picChg>
        <pc:picChg chg="mod">
          <ac:chgData name="Souther, Tyler" userId="875bc1d9-c1cb-4c7c-a5eb-f3e350e514db" providerId="ADAL" clId="{B16A9555-5E18-4327-B29F-96C169D34379}" dt="2024-10-29T22:13:13.893" v="3666" actId="164"/>
          <ac:picMkLst>
            <pc:docMk/>
            <pc:sldMk cId="0" sldId="261"/>
            <ac:picMk id="14" creationId="{7DDA5F98-9DCF-A5D1-FDA0-1DC69089BC89}"/>
          </ac:picMkLst>
        </pc:picChg>
        <pc:picChg chg="mod">
          <ac:chgData name="Souther, Tyler" userId="875bc1d9-c1cb-4c7c-a5eb-f3e350e514db" providerId="ADAL" clId="{B16A9555-5E18-4327-B29F-96C169D34379}" dt="2024-10-29T22:13:32.515" v="4185" actId="1038"/>
          <ac:picMkLst>
            <pc:docMk/>
            <pc:sldMk cId="0" sldId="261"/>
            <ac:picMk id="1029" creationId="{6B0C6D54-B941-C78A-6EF9-832D18ECCE9B}"/>
          </ac:picMkLst>
        </pc:picChg>
      </pc:sldChg>
      <pc:sldChg chg="addSp modSp mod modNotes">
        <pc:chgData name="Souther, Tyler" userId="875bc1d9-c1cb-4c7c-a5eb-f3e350e514db" providerId="ADAL" clId="{B16A9555-5E18-4327-B29F-96C169D34379}" dt="2024-10-29T22:16:15.990" v="9040" actId="947"/>
        <pc:sldMkLst>
          <pc:docMk/>
          <pc:sldMk cId="0" sldId="268"/>
        </pc:sldMkLst>
        <pc:spChg chg="mod">
          <ac:chgData name="Souther, Tyler" userId="875bc1d9-c1cb-4c7c-a5eb-f3e350e514db" providerId="ADAL" clId="{B16A9555-5E18-4327-B29F-96C169D34379}" dt="2024-10-29T22:16:02.160" v="8021" actId="12"/>
          <ac:spMkLst>
            <pc:docMk/>
            <pc:sldMk cId="0" sldId="268"/>
            <ac:spMk id="2" creationId="{00000000-0000-0000-0000-000000000000}"/>
          </ac:spMkLst>
        </pc:spChg>
        <pc:spChg chg="mod">
          <ac:chgData name="Souther, Tyler" userId="875bc1d9-c1cb-4c7c-a5eb-f3e350e514db" providerId="ADAL" clId="{B16A9555-5E18-4327-B29F-96C169D34379}" dt="2024-10-29T22:14:38.086" v="6253" actId="1076"/>
          <ac:spMkLst>
            <pc:docMk/>
            <pc:sldMk cId="0" sldId="268"/>
            <ac:spMk id="3" creationId="{00000000-0000-0000-0000-000000000000}"/>
          </ac:spMkLst>
        </pc:spChg>
        <pc:spChg chg="add mod">
          <ac:chgData name="Souther, Tyler" userId="875bc1d9-c1cb-4c7c-a5eb-f3e350e514db" providerId="ADAL" clId="{B16A9555-5E18-4327-B29F-96C169D34379}" dt="2024-10-29T22:16:15.958" v="8990" actId="947"/>
          <ac:spMkLst>
            <pc:docMk/>
            <pc:sldMk cId="0" sldId="268"/>
            <ac:spMk id="8" creationId="{C694F092-6359-403C-A82B-D859E740B4EF}"/>
          </ac:spMkLst>
        </pc:spChg>
        <pc:picChg chg="mod">
          <ac:chgData name="Souther, Tyler" userId="875bc1d9-c1cb-4c7c-a5eb-f3e350e514db" providerId="ADAL" clId="{B16A9555-5E18-4327-B29F-96C169D34379}" dt="2024-10-29T22:14:35.075" v="6252" actId="1076"/>
          <ac:picMkLst>
            <pc:docMk/>
            <pc:sldMk cId="0" sldId="268"/>
            <ac:picMk id="9" creationId="{D119438C-87D6-16D0-1E01-F2A7E34872A1}"/>
          </ac:picMkLst>
        </pc:picChg>
      </pc:sldChg>
      <pc:sldChg chg="addSp modSp mod modNotes">
        <pc:chgData name="Souther, Tyler" userId="875bc1d9-c1cb-4c7c-a5eb-f3e350e514db" providerId="ADAL" clId="{B16A9555-5E18-4327-B29F-96C169D34379}" dt="2024-10-29T22:16:15.970" v="9010" actId="947"/>
        <pc:sldMkLst>
          <pc:docMk/>
          <pc:sldMk cId="3408776243" sldId="269"/>
        </pc:sldMkLst>
        <pc:spChg chg="add mod">
          <ac:chgData name="Souther, Tyler" userId="875bc1d9-c1cb-4c7c-a5eb-f3e350e514db" providerId="ADAL" clId="{B16A9555-5E18-4327-B29F-96C169D34379}" dt="2024-10-29T22:16:15.939" v="8957" actId="947"/>
          <ac:spMkLst>
            <pc:docMk/>
            <pc:sldMk cId="3408776243" sldId="269"/>
            <ac:spMk id="2" creationId="{4E9CA8E6-FE7C-4BA0-8FD4-32A62497A416}"/>
          </ac:spMkLst>
        </pc:spChg>
        <pc:spChg chg="mod">
          <ac:chgData name="Souther, Tyler" userId="875bc1d9-c1cb-4c7c-a5eb-f3e350e514db" providerId="ADAL" clId="{B16A9555-5E18-4327-B29F-96C169D34379}" dt="2024-10-29T22:16:12.460" v="8536" actId="1076"/>
          <ac:spMkLst>
            <pc:docMk/>
            <pc:sldMk cId="3408776243" sldId="269"/>
            <ac:spMk id="7" creationId="{49272B33-11EF-4F10-8717-EBB1448A7969}"/>
          </ac:spMkLst>
        </pc:spChg>
      </pc:sldChg>
      <pc:sldMasterChg chg="modSp mod modSldLayout">
        <pc:chgData name="Souther, Tyler" userId="875bc1d9-c1cb-4c7c-a5eb-f3e350e514db" providerId="ADAL" clId="{B16A9555-5E18-4327-B29F-96C169D34379}" dt="2024-10-29T22:16:15.932" v="8946"/>
        <pc:sldMasterMkLst>
          <pc:docMk/>
          <pc:sldMasterMk cId="2402040483" sldId="2147483648"/>
        </pc:sldMasterMkLst>
        <pc:spChg chg="mod">
          <ac:chgData name="Souther, Tyler" userId="875bc1d9-c1cb-4c7c-a5eb-f3e350e514db" providerId="ADAL" clId="{B16A9555-5E18-4327-B29F-96C169D34379}" dt="2024-10-29T22:16:15.854" v="8836"/>
          <ac:spMkLst>
            <pc:docMk/>
            <pc:sldMasterMk cId="2402040483" sldId="2147483648"/>
            <ac:spMk id="5" creationId="{8762D8E6-807F-4A55-AD0E-6E71154AAFB2}"/>
          </ac:spMkLst>
        </pc:spChg>
        <pc:sldLayoutChg chg="modSp mod">
          <pc:chgData name="Souther, Tyler" userId="875bc1d9-c1cb-4c7c-a5eb-f3e350e514db" providerId="ADAL" clId="{B16A9555-5E18-4327-B29F-96C169D34379}" dt="2024-10-29T22:16:15.860" v="8846"/>
          <pc:sldLayoutMkLst>
            <pc:docMk/>
            <pc:sldMasterMk cId="2402040483" sldId="2147483648"/>
            <pc:sldLayoutMk cId="3452310441" sldId="2147483649"/>
          </pc:sldLayoutMkLst>
          <pc:spChg chg="mod">
            <ac:chgData name="Souther, Tyler" userId="875bc1d9-c1cb-4c7c-a5eb-f3e350e514db" providerId="ADAL" clId="{B16A9555-5E18-4327-B29F-96C169D34379}" dt="2024-10-29T22:16:15.860" v="8846"/>
            <ac:spMkLst>
              <pc:docMk/>
              <pc:sldMasterMk cId="2402040483" sldId="2147483648"/>
              <pc:sldLayoutMk cId="3452310441" sldId="2147483649"/>
              <ac:spMk id="5" creationId="{1CEB601C-7EDE-43A7-A22E-A59FBF357796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67" v="8856"/>
          <pc:sldLayoutMkLst>
            <pc:docMk/>
            <pc:sldMasterMk cId="2402040483" sldId="2147483648"/>
            <pc:sldLayoutMk cId="2303703972" sldId="2147483650"/>
          </pc:sldLayoutMkLst>
          <pc:spChg chg="mod">
            <ac:chgData name="Souther, Tyler" userId="875bc1d9-c1cb-4c7c-a5eb-f3e350e514db" providerId="ADAL" clId="{B16A9555-5E18-4327-B29F-96C169D34379}" dt="2024-10-29T22:16:15.867" v="8856"/>
            <ac:spMkLst>
              <pc:docMk/>
              <pc:sldMasterMk cId="2402040483" sldId="2147483648"/>
              <pc:sldLayoutMk cId="2303703972" sldId="2147483650"/>
              <ac:spMk id="5" creationId="{D2F6E74F-D81D-437B-A881-99B4FB51E56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74" v="8866"/>
          <pc:sldLayoutMkLst>
            <pc:docMk/>
            <pc:sldMasterMk cId="2402040483" sldId="2147483648"/>
            <pc:sldLayoutMk cId="266808796" sldId="2147483651"/>
          </pc:sldLayoutMkLst>
          <pc:spChg chg="mod">
            <ac:chgData name="Souther, Tyler" userId="875bc1d9-c1cb-4c7c-a5eb-f3e350e514db" providerId="ADAL" clId="{B16A9555-5E18-4327-B29F-96C169D34379}" dt="2024-10-29T22:16:15.874" v="8866"/>
            <ac:spMkLst>
              <pc:docMk/>
              <pc:sldMasterMk cId="2402040483" sldId="2147483648"/>
              <pc:sldLayoutMk cId="266808796" sldId="2147483651"/>
              <ac:spMk id="5" creationId="{6A81DEAB-AC68-4E05-8B32-A3B173C88068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81" v="8876"/>
          <pc:sldLayoutMkLst>
            <pc:docMk/>
            <pc:sldMasterMk cId="2402040483" sldId="2147483648"/>
            <pc:sldLayoutMk cId="1253000984" sldId="2147483652"/>
          </pc:sldLayoutMkLst>
          <pc:spChg chg="mod">
            <ac:chgData name="Souther, Tyler" userId="875bc1d9-c1cb-4c7c-a5eb-f3e350e514db" providerId="ADAL" clId="{B16A9555-5E18-4327-B29F-96C169D34379}" dt="2024-10-29T22:16:15.881" v="8876"/>
            <ac:spMkLst>
              <pc:docMk/>
              <pc:sldMasterMk cId="2402040483" sldId="2147483648"/>
              <pc:sldLayoutMk cId="1253000984" sldId="2147483652"/>
              <ac:spMk id="6" creationId="{D3561153-41B5-4384-9CEF-3912A952B4BD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89" v="8886"/>
          <pc:sldLayoutMkLst>
            <pc:docMk/>
            <pc:sldMasterMk cId="2402040483" sldId="2147483648"/>
            <pc:sldLayoutMk cId="381572377" sldId="2147483653"/>
          </pc:sldLayoutMkLst>
          <pc:spChg chg="mod">
            <ac:chgData name="Souther, Tyler" userId="875bc1d9-c1cb-4c7c-a5eb-f3e350e514db" providerId="ADAL" clId="{B16A9555-5E18-4327-B29F-96C169D34379}" dt="2024-10-29T22:16:15.889" v="8886"/>
            <ac:spMkLst>
              <pc:docMk/>
              <pc:sldMasterMk cId="2402040483" sldId="2147483648"/>
              <pc:sldLayoutMk cId="381572377" sldId="2147483653"/>
              <ac:spMk id="8" creationId="{697716C2-0A32-40C0-9690-3039B5F86139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96" v="8896"/>
          <pc:sldLayoutMkLst>
            <pc:docMk/>
            <pc:sldMasterMk cId="2402040483" sldId="2147483648"/>
            <pc:sldLayoutMk cId="4223020563" sldId="2147483654"/>
          </pc:sldLayoutMkLst>
          <pc:spChg chg="mod">
            <ac:chgData name="Souther, Tyler" userId="875bc1d9-c1cb-4c7c-a5eb-f3e350e514db" providerId="ADAL" clId="{B16A9555-5E18-4327-B29F-96C169D34379}" dt="2024-10-29T22:16:15.896" v="8896"/>
            <ac:spMkLst>
              <pc:docMk/>
              <pc:sldMasterMk cId="2402040483" sldId="2147483648"/>
              <pc:sldLayoutMk cId="4223020563" sldId="2147483654"/>
              <ac:spMk id="4" creationId="{A4C18359-5D55-4294-BFD9-11A4D565D3C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903" v="8906"/>
          <pc:sldLayoutMkLst>
            <pc:docMk/>
            <pc:sldMasterMk cId="2402040483" sldId="2147483648"/>
            <pc:sldLayoutMk cId="2771937668" sldId="2147483655"/>
          </pc:sldLayoutMkLst>
          <pc:spChg chg="mod">
            <ac:chgData name="Souther, Tyler" userId="875bc1d9-c1cb-4c7c-a5eb-f3e350e514db" providerId="ADAL" clId="{B16A9555-5E18-4327-B29F-96C169D34379}" dt="2024-10-29T22:16:15.903" v="8906"/>
            <ac:spMkLst>
              <pc:docMk/>
              <pc:sldMasterMk cId="2402040483" sldId="2147483648"/>
              <pc:sldLayoutMk cId="2771937668" sldId="2147483655"/>
              <ac:spMk id="3" creationId="{DB2623ED-67E6-42B0-83E9-ACD27FC0A76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909" v="8916"/>
          <pc:sldLayoutMkLst>
            <pc:docMk/>
            <pc:sldMasterMk cId="2402040483" sldId="2147483648"/>
            <pc:sldLayoutMk cId="1007552780" sldId="2147483656"/>
          </pc:sldLayoutMkLst>
          <pc:spChg chg="mod">
            <ac:chgData name="Souther, Tyler" userId="875bc1d9-c1cb-4c7c-a5eb-f3e350e514db" providerId="ADAL" clId="{B16A9555-5E18-4327-B29F-96C169D34379}" dt="2024-10-29T22:16:15.909" v="8916"/>
            <ac:spMkLst>
              <pc:docMk/>
              <pc:sldMasterMk cId="2402040483" sldId="2147483648"/>
              <pc:sldLayoutMk cId="1007552780" sldId="2147483656"/>
              <ac:spMk id="6" creationId="{43CFB3F6-CE07-46B8-96A7-1AEDC302EF2A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917" v="8926"/>
          <pc:sldLayoutMkLst>
            <pc:docMk/>
            <pc:sldMasterMk cId="2402040483" sldId="2147483648"/>
            <pc:sldLayoutMk cId="3499952889" sldId="2147483657"/>
          </pc:sldLayoutMkLst>
          <pc:spChg chg="mod">
            <ac:chgData name="Souther, Tyler" userId="875bc1d9-c1cb-4c7c-a5eb-f3e350e514db" providerId="ADAL" clId="{B16A9555-5E18-4327-B29F-96C169D34379}" dt="2024-10-29T22:16:15.917" v="8926"/>
            <ac:spMkLst>
              <pc:docMk/>
              <pc:sldMasterMk cId="2402040483" sldId="2147483648"/>
              <pc:sldLayoutMk cId="3499952889" sldId="2147483657"/>
              <ac:spMk id="6" creationId="{5D5E174A-C246-4216-9661-D0F90E59FB68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925" v="8936"/>
          <pc:sldLayoutMkLst>
            <pc:docMk/>
            <pc:sldMasterMk cId="2402040483" sldId="2147483648"/>
            <pc:sldLayoutMk cId="301720723" sldId="2147483658"/>
          </pc:sldLayoutMkLst>
          <pc:spChg chg="mod">
            <ac:chgData name="Souther, Tyler" userId="875bc1d9-c1cb-4c7c-a5eb-f3e350e514db" providerId="ADAL" clId="{B16A9555-5E18-4327-B29F-96C169D34379}" dt="2024-10-29T22:16:15.925" v="8936"/>
            <ac:spMkLst>
              <pc:docMk/>
              <pc:sldMasterMk cId="2402040483" sldId="2147483648"/>
              <pc:sldLayoutMk cId="301720723" sldId="2147483658"/>
              <ac:spMk id="5" creationId="{3838A41A-CBB4-4EAB-B726-90F50AC276CB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932" v="8946"/>
          <pc:sldLayoutMkLst>
            <pc:docMk/>
            <pc:sldMasterMk cId="2402040483" sldId="2147483648"/>
            <pc:sldLayoutMk cId="4172727916" sldId="2147483659"/>
          </pc:sldLayoutMkLst>
          <pc:spChg chg="mod">
            <ac:chgData name="Souther, Tyler" userId="875bc1d9-c1cb-4c7c-a5eb-f3e350e514db" providerId="ADAL" clId="{B16A9555-5E18-4327-B29F-96C169D34379}" dt="2024-10-29T22:16:15.932" v="8946"/>
            <ac:spMkLst>
              <pc:docMk/>
              <pc:sldMasterMk cId="2402040483" sldId="2147483648"/>
              <pc:sldLayoutMk cId="4172727916" sldId="2147483659"/>
              <ac:spMk id="5" creationId="{5FCBB433-FE4E-4F17-AE6A-7100D1923847}"/>
            </ac:spMkLst>
          </pc:spChg>
        </pc:sldLayoutChg>
      </pc:sldMasterChg>
      <pc:sldMasterChg chg="modSp mod modSldLayout">
        <pc:chgData name="Souther, Tyler" userId="875bc1d9-c1cb-4c7c-a5eb-f3e350e514db" providerId="ADAL" clId="{B16A9555-5E18-4327-B29F-96C169D34379}" dt="2024-10-29T22:16:15.845" v="8826"/>
        <pc:sldMasterMkLst>
          <pc:docMk/>
          <pc:sldMasterMk cId="1961464670" sldId="2147483706"/>
        </pc:sldMasterMkLst>
        <pc:spChg chg="mod">
          <ac:chgData name="Souther, Tyler" userId="875bc1d9-c1cb-4c7c-a5eb-f3e350e514db" providerId="ADAL" clId="{B16A9555-5E18-4327-B29F-96C169D34379}" dt="2024-10-29T22:16:15.651" v="8546"/>
          <ac:spMkLst>
            <pc:docMk/>
            <pc:sldMasterMk cId="1961464670" sldId="2147483706"/>
            <ac:spMk id="5" creationId="{9C9C61BD-1A56-4C96-8300-B2F24AEB8A0E}"/>
          </ac:spMkLst>
        </pc:spChg>
        <pc:sldLayoutChg chg="modSp mod">
          <pc:chgData name="Souther, Tyler" userId="875bc1d9-c1cb-4c7c-a5eb-f3e350e514db" providerId="ADAL" clId="{B16A9555-5E18-4327-B29F-96C169D34379}" dt="2024-10-29T22:16:15.742" v="8676"/>
          <pc:sldLayoutMkLst>
            <pc:docMk/>
            <pc:sldMasterMk cId="1961464670" sldId="2147483706"/>
            <pc:sldLayoutMk cId="189325414" sldId="2147483660"/>
          </pc:sldLayoutMkLst>
          <pc:spChg chg="mod">
            <ac:chgData name="Souther, Tyler" userId="875bc1d9-c1cb-4c7c-a5eb-f3e350e514db" providerId="ADAL" clId="{B16A9555-5E18-4327-B29F-96C169D34379}" dt="2024-10-29T22:16:15.742" v="8676"/>
            <ac:spMkLst>
              <pc:docMk/>
              <pc:sldMasterMk cId="1961464670" sldId="2147483706"/>
              <pc:sldLayoutMk cId="189325414" sldId="2147483660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05" v="8626"/>
          <pc:sldLayoutMkLst>
            <pc:docMk/>
            <pc:sldMasterMk cId="1961464670" sldId="2147483706"/>
            <pc:sldLayoutMk cId="846821532" sldId="2147483661"/>
          </pc:sldLayoutMkLst>
          <pc:spChg chg="mod">
            <ac:chgData name="Souther, Tyler" userId="875bc1d9-c1cb-4c7c-a5eb-f3e350e514db" providerId="ADAL" clId="{B16A9555-5E18-4327-B29F-96C169D34379}" dt="2024-10-29T22:16:15.705" v="8626"/>
            <ac:spMkLst>
              <pc:docMk/>
              <pc:sldMasterMk cId="1961464670" sldId="2147483706"/>
              <pc:sldLayoutMk cId="846821532" sldId="2147483661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19" v="8646"/>
          <pc:sldLayoutMkLst>
            <pc:docMk/>
            <pc:sldMasterMk cId="1961464670" sldId="2147483706"/>
            <pc:sldLayoutMk cId="1406711490" sldId="2147483662"/>
          </pc:sldLayoutMkLst>
          <pc:spChg chg="mod">
            <ac:chgData name="Souther, Tyler" userId="875bc1d9-c1cb-4c7c-a5eb-f3e350e514db" providerId="ADAL" clId="{B16A9555-5E18-4327-B29F-96C169D34379}" dt="2024-10-29T22:16:15.719" v="8646"/>
            <ac:spMkLst>
              <pc:docMk/>
              <pc:sldMasterMk cId="1961464670" sldId="2147483706"/>
              <pc:sldLayoutMk cId="1406711490" sldId="2147483662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34" v="8666"/>
          <pc:sldLayoutMkLst>
            <pc:docMk/>
            <pc:sldMasterMk cId="1961464670" sldId="2147483706"/>
            <pc:sldLayoutMk cId="2880525616" sldId="2147483663"/>
          </pc:sldLayoutMkLst>
          <pc:spChg chg="mod">
            <ac:chgData name="Souther, Tyler" userId="875bc1d9-c1cb-4c7c-a5eb-f3e350e514db" providerId="ADAL" clId="{B16A9555-5E18-4327-B29F-96C169D34379}" dt="2024-10-29T22:16:15.734" v="8666"/>
            <ac:spMkLst>
              <pc:docMk/>
              <pc:sldMasterMk cId="1961464670" sldId="2147483706"/>
              <pc:sldLayoutMk cId="2880525616" sldId="2147483663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698" v="8616"/>
          <pc:sldLayoutMkLst>
            <pc:docMk/>
            <pc:sldMasterMk cId="1961464670" sldId="2147483706"/>
            <pc:sldLayoutMk cId="833064290" sldId="2147483664"/>
          </pc:sldLayoutMkLst>
          <pc:spChg chg="mod">
            <ac:chgData name="Souther, Tyler" userId="875bc1d9-c1cb-4c7c-a5eb-f3e350e514db" providerId="ADAL" clId="{B16A9555-5E18-4327-B29F-96C169D34379}" dt="2024-10-29T22:16:15.698" v="8616"/>
            <ac:spMkLst>
              <pc:docMk/>
              <pc:sldMasterMk cId="1961464670" sldId="2147483706"/>
              <pc:sldLayoutMk cId="833064290" sldId="2147483664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666" v="8566"/>
          <pc:sldLayoutMkLst>
            <pc:docMk/>
            <pc:sldMasterMk cId="1961464670" sldId="2147483706"/>
            <pc:sldLayoutMk cId="1712632329" sldId="2147483665"/>
          </pc:sldLayoutMkLst>
          <pc:spChg chg="mod">
            <ac:chgData name="Souther, Tyler" userId="875bc1d9-c1cb-4c7c-a5eb-f3e350e514db" providerId="ADAL" clId="{B16A9555-5E18-4327-B29F-96C169D34379}" dt="2024-10-29T22:16:15.666" v="8566"/>
            <ac:spMkLst>
              <pc:docMk/>
              <pc:sldMasterMk cId="1961464670" sldId="2147483706"/>
              <pc:sldLayoutMk cId="1712632329" sldId="2147483665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678" v="8586"/>
          <pc:sldLayoutMkLst>
            <pc:docMk/>
            <pc:sldMasterMk cId="1961464670" sldId="2147483706"/>
            <pc:sldLayoutMk cId="3707526015" sldId="2147483670"/>
          </pc:sldLayoutMkLst>
          <pc:spChg chg="mod">
            <ac:chgData name="Souther, Tyler" userId="875bc1d9-c1cb-4c7c-a5eb-f3e350e514db" providerId="ADAL" clId="{B16A9555-5E18-4327-B29F-96C169D34379}" dt="2024-10-29T22:16:15.678" v="8586"/>
            <ac:spMkLst>
              <pc:docMk/>
              <pc:sldMasterMk cId="1961464670" sldId="2147483706"/>
              <pc:sldLayoutMk cId="3707526015" sldId="2147483670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659" v="8556"/>
          <pc:sldLayoutMkLst>
            <pc:docMk/>
            <pc:sldMasterMk cId="1961464670" sldId="2147483706"/>
            <pc:sldLayoutMk cId="2214756299" sldId="2147483678"/>
          </pc:sldLayoutMkLst>
          <pc:spChg chg="mod">
            <ac:chgData name="Souther, Tyler" userId="875bc1d9-c1cb-4c7c-a5eb-f3e350e514db" providerId="ADAL" clId="{B16A9555-5E18-4327-B29F-96C169D34379}" dt="2024-10-29T22:16:15.659" v="8556"/>
            <ac:spMkLst>
              <pc:docMk/>
              <pc:sldMasterMk cId="1961464670" sldId="2147483706"/>
              <pc:sldLayoutMk cId="2214756299" sldId="2147483678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64" v="8706"/>
          <pc:sldLayoutMkLst>
            <pc:docMk/>
            <pc:sldMasterMk cId="1961464670" sldId="2147483706"/>
            <pc:sldLayoutMk cId="1235689484" sldId="2147483692"/>
          </pc:sldLayoutMkLst>
          <pc:spChg chg="mod">
            <ac:chgData name="Souther, Tyler" userId="875bc1d9-c1cb-4c7c-a5eb-f3e350e514db" providerId="ADAL" clId="{B16A9555-5E18-4327-B29F-96C169D34379}" dt="2024-10-29T22:16:15.764" v="8706"/>
            <ac:spMkLst>
              <pc:docMk/>
              <pc:sldMasterMk cId="1961464670" sldId="2147483706"/>
              <pc:sldLayoutMk cId="1235689484" sldId="2147483692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71" v="8716"/>
          <pc:sldLayoutMkLst>
            <pc:docMk/>
            <pc:sldMasterMk cId="1961464670" sldId="2147483706"/>
            <pc:sldLayoutMk cId="390863581" sldId="2147483693"/>
          </pc:sldLayoutMkLst>
          <pc:spChg chg="mod">
            <ac:chgData name="Souther, Tyler" userId="875bc1d9-c1cb-4c7c-a5eb-f3e350e514db" providerId="ADAL" clId="{B16A9555-5E18-4327-B29F-96C169D34379}" dt="2024-10-29T22:16:15.771" v="8716"/>
            <ac:spMkLst>
              <pc:docMk/>
              <pc:sldMasterMk cId="1961464670" sldId="2147483706"/>
              <pc:sldLayoutMk cId="390863581" sldId="2147483693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78" v="8726"/>
          <pc:sldLayoutMkLst>
            <pc:docMk/>
            <pc:sldMasterMk cId="1961464670" sldId="2147483706"/>
            <pc:sldLayoutMk cId="4197345758" sldId="2147483694"/>
          </pc:sldLayoutMkLst>
          <pc:spChg chg="mod">
            <ac:chgData name="Souther, Tyler" userId="875bc1d9-c1cb-4c7c-a5eb-f3e350e514db" providerId="ADAL" clId="{B16A9555-5E18-4327-B29F-96C169D34379}" dt="2024-10-29T22:16:15.778" v="8726"/>
            <ac:spMkLst>
              <pc:docMk/>
              <pc:sldMasterMk cId="1961464670" sldId="2147483706"/>
              <pc:sldLayoutMk cId="4197345758" sldId="2147483694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84" v="8736"/>
          <pc:sldLayoutMkLst>
            <pc:docMk/>
            <pc:sldMasterMk cId="1961464670" sldId="2147483706"/>
            <pc:sldLayoutMk cId="1125447549" sldId="2147483695"/>
          </pc:sldLayoutMkLst>
          <pc:spChg chg="mod">
            <ac:chgData name="Souther, Tyler" userId="875bc1d9-c1cb-4c7c-a5eb-f3e350e514db" providerId="ADAL" clId="{B16A9555-5E18-4327-B29F-96C169D34379}" dt="2024-10-29T22:16:15.784" v="8736"/>
            <ac:spMkLst>
              <pc:docMk/>
              <pc:sldMasterMk cId="1961464670" sldId="2147483706"/>
              <pc:sldLayoutMk cId="1125447549" sldId="2147483695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91" v="8746"/>
          <pc:sldLayoutMkLst>
            <pc:docMk/>
            <pc:sldMasterMk cId="1961464670" sldId="2147483706"/>
            <pc:sldLayoutMk cId="4036056824" sldId="2147483696"/>
          </pc:sldLayoutMkLst>
          <pc:spChg chg="mod">
            <ac:chgData name="Souther, Tyler" userId="875bc1d9-c1cb-4c7c-a5eb-f3e350e514db" providerId="ADAL" clId="{B16A9555-5E18-4327-B29F-96C169D34379}" dt="2024-10-29T22:16:15.791" v="8746"/>
            <ac:spMkLst>
              <pc:docMk/>
              <pc:sldMasterMk cId="1961464670" sldId="2147483706"/>
              <pc:sldLayoutMk cId="4036056824" sldId="2147483696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98" v="8756"/>
          <pc:sldLayoutMkLst>
            <pc:docMk/>
            <pc:sldMasterMk cId="1961464670" sldId="2147483706"/>
            <pc:sldLayoutMk cId="2269828900" sldId="2147483697"/>
          </pc:sldLayoutMkLst>
          <pc:spChg chg="mod">
            <ac:chgData name="Souther, Tyler" userId="875bc1d9-c1cb-4c7c-a5eb-f3e350e514db" providerId="ADAL" clId="{B16A9555-5E18-4327-B29F-96C169D34379}" dt="2024-10-29T22:16:15.798" v="8756"/>
            <ac:spMkLst>
              <pc:docMk/>
              <pc:sldMasterMk cId="1961464670" sldId="2147483706"/>
              <pc:sldLayoutMk cId="2269828900" sldId="2147483697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04" v="8766"/>
          <pc:sldLayoutMkLst>
            <pc:docMk/>
            <pc:sldMasterMk cId="1961464670" sldId="2147483706"/>
            <pc:sldLayoutMk cId="3461788911" sldId="2147483698"/>
          </pc:sldLayoutMkLst>
          <pc:spChg chg="mod">
            <ac:chgData name="Souther, Tyler" userId="875bc1d9-c1cb-4c7c-a5eb-f3e350e514db" providerId="ADAL" clId="{B16A9555-5E18-4327-B29F-96C169D34379}" dt="2024-10-29T22:16:15.804" v="8766"/>
            <ac:spMkLst>
              <pc:docMk/>
              <pc:sldMasterMk cId="1961464670" sldId="2147483706"/>
              <pc:sldLayoutMk cId="3461788911" sldId="2147483698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11" v="8776"/>
          <pc:sldLayoutMkLst>
            <pc:docMk/>
            <pc:sldMasterMk cId="1961464670" sldId="2147483706"/>
            <pc:sldLayoutMk cId="3104716135" sldId="2147483699"/>
          </pc:sldLayoutMkLst>
          <pc:spChg chg="mod">
            <ac:chgData name="Souther, Tyler" userId="875bc1d9-c1cb-4c7c-a5eb-f3e350e514db" providerId="ADAL" clId="{B16A9555-5E18-4327-B29F-96C169D34379}" dt="2024-10-29T22:16:15.811" v="8776"/>
            <ac:spMkLst>
              <pc:docMk/>
              <pc:sldMasterMk cId="1961464670" sldId="2147483706"/>
              <pc:sldLayoutMk cId="3104716135" sldId="2147483699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17" v="8786"/>
          <pc:sldLayoutMkLst>
            <pc:docMk/>
            <pc:sldMasterMk cId="1961464670" sldId="2147483706"/>
            <pc:sldLayoutMk cId="529321044" sldId="2147483700"/>
          </pc:sldLayoutMkLst>
          <pc:spChg chg="mod">
            <ac:chgData name="Souther, Tyler" userId="875bc1d9-c1cb-4c7c-a5eb-f3e350e514db" providerId="ADAL" clId="{B16A9555-5E18-4327-B29F-96C169D34379}" dt="2024-10-29T22:16:15.817" v="8786"/>
            <ac:spMkLst>
              <pc:docMk/>
              <pc:sldMasterMk cId="1961464670" sldId="2147483706"/>
              <pc:sldLayoutMk cId="529321044" sldId="2147483700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24" v="8796"/>
          <pc:sldLayoutMkLst>
            <pc:docMk/>
            <pc:sldMasterMk cId="1961464670" sldId="2147483706"/>
            <pc:sldLayoutMk cId="2898298229" sldId="2147483702"/>
          </pc:sldLayoutMkLst>
          <pc:spChg chg="mod">
            <ac:chgData name="Souther, Tyler" userId="875bc1d9-c1cb-4c7c-a5eb-f3e350e514db" providerId="ADAL" clId="{B16A9555-5E18-4327-B29F-96C169D34379}" dt="2024-10-29T22:16:15.824" v="8796"/>
            <ac:spMkLst>
              <pc:docMk/>
              <pc:sldMasterMk cId="1961464670" sldId="2147483706"/>
              <pc:sldLayoutMk cId="2898298229" sldId="2147483702"/>
              <ac:spMk id="4" creationId="{5827C14D-9EED-4F3B-9141-0F2882919726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31" v="8806"/>
          <pc:sldLayoutMkLst>
            <pc:docMk/>
            <pc:sldMasterMk cId="1961464670" sldId="2147483706"/>
            <pc:sldLayoutMk cId="3442407233" sldId="2147483703"/>
          </pc:sldLayoutMkLst>
          <pc:spChg chg="mod">
            <ac:chgData name="Souther, Tyler" userId="875bc1d9-c1cb-4c7c-a5eb-f3e350e514db" providerId="ADAL" clId="{B16A9555-5E18-4327-B29F-96C169D34379}" dt="2024-10-29T22:16:15.831" v="8806"/>
            <ac:spMkLst>
              <pc:docMk/>
              <pc:sldMasterMk cId="1961464670" sldId="2147483706"/>
              <pc:sldLayoutMk cId="3442407233" sldId="2147483703"/>
              <ac:spMk id="3" creationId="{359AAC5D-D7D8-42DB-BA4B-6CDFC5FAF0A6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37" v="8816"/>
          <pc:sldLayoutMkLst>
            <pc:docMk/>
            <pc:sldMasterMk cId="1961464670" sldId="2147483706"/>
            <pc:sldLayoutMk cId="1271105766" sldId="2147483704"/>
          </pc:sldLayoutMkLst>
          <pc:spChg chg="mod">
            <ac:chgData name="Souther, Tyler" userId="875bc1d9-c1cb-4c7c-a5eb-f3e350e514db" providerId="ADAL" clId="{B16A9555-5E18-4327-B29F-96C169D34379}" dt="2024-10-29T22:16:15.837" v="8816"/>
            <ac:spMkLst>
              <pc:docMk/>
              <pc:sldMasterMk cId="1961464670" sldId="2147483706"/>
              <pc:sldLayoutMk cId="1271105766" sldId="2147483704"/>
              <ac:spMk id="2" creationId="{00000000-0000-0000-0000-000000000000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845" v="8826"/>
          <pc:sldLayoutMkLst>
            <pc:docMk/>
            <pc:sldMasterMk cId="1961464670" sldId="2147483706"/>
            <pc:sldLayoutMk cId="2686532907" sldId="2147483705"/>
          </pc:sldLayoutMkLst>
          <pc:spChg chg="mod">
            <ac:chgData name="Souther, Tyler" userId="875bc1d9-c1cb-4c7c-a5eb-f3e350e514db" providerId="ADAL" clId="{B16A9555-5E18-4327-B29F-96C169D34379}" dt="2024-10-29T22:16:15.845" v="8826"/>
            <ac:spMkLst>
              <pc:docMk/>
              <pc:sldMasterMk cId="1961464670" sldId="2147483706"/>
              <pc:sldLayoutMk cId="2686532907" sldId="2147483705"/>
              <ac:spMk id="4" creationId="{00000000-0000-0000-0000-000000000000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686" v="8596"/>
          <pc:sldLayoutMkLst>
            <pc:docMk/>
            <pc:sldMasterMk cId="1961464670" sldId="2147483706"/>
            <pc:sldLayoutMk cId="3474014617" sldId="2147483708"/>
          </pc:sldLayoutMkLst>
          <pc:spChg chg="mod">
            <ac:chgData name="Souther, Tyler" userId="875bc1d9-c1cb-4c7c-a5eb-f3e350e514db" providerId="ADAL" clId="{B16A9555-5E18-4327-B29F-96C169D34379}" dt="2024-10-29T22:16:15.686" v="8596"/>
            <ac:spMkLst>
              <pc:docMk/>
              <pc:sldMasterMk cId="1961464670" sldId="2147483706"/>
              <pc:sldLayoutMk cId="3474014617" sldId="2147483708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51" v="8686"/>
          <pc:sldLayoutMkLst>
            <pc:docMk/>
            <pc:sldMasterMk cId="1961464670" sldId="2147483706"/>
            <pc:sldLayoutMk cId="578199084" sldId="2147483710"/>
          </pc:sldLayoutMkLst>
          <pc:spChg chg="mod">
            <ac:chgData name="Souther, Tyler" userId="875bc1d9-c1cb-4c7c-a5eb-f3e350e514db" providerId="ADAL" clId="{B16A9555-5E18-4327-B29F-96C169D34379}" dt="2024-10-29T22:16:15.751" v="8686"/>
            <ac:spMkLst>
              <pc:docMk/>
              <pc:sldMasterMk cId="1961464670" sldId="2147483706"/>
              <pc:sldLayoutMk cId="578199084" sldId="2147483710"/>
              <ac:spMk id="4" creationId="{5827C14D-9EED-4F3B-9141-0F2882919726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57" v="8696"/>
          <pc:sldLayoutMkLst>
            <pc:docMk/>
            <pc:sldMasterMk cId="1961464670" sldId="2147483706"/>
            <pc:sldLayoutMk cId="1990648448" sldId="2147483711"/>
          </pc:sldLayoutMkLst>
          <pc:spChg chg="mod">
            <ac:chgData name="Souther, Tyler" userId="875bc1d9-c1cb-4c7c-a5eb-f3e350e514db" providerId="ADAL" clId="{B16A9555-5E18-4327-B29F-96C169D34379}" dt="2024-10-29T22:16:15.757" v="8696"/>
            <ac:spMkLst>
              <pc:docMk/>
              <pc:sldMasterMk cId="1961464670" sldId="2147483706"/>
              <pc:sldLayoutMk cId="1990648448" sldId="2147483711"/>
              <ac:spMk id="3" creationId="{359AAC5D-D7D8-42DB-BA4B-6CDFC5FAF0A6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692" v="8606"/>
          <pc:sldLayoutMkLst>
            <pc:docMk/>
            <pc:sldMasterMk cId="1961464670" sldId="2147483706"/>
            <pc:sldLayoutMk cId="4115104953" sldId="2147483712"/>
          </pc:sldLayoutMkLst>
          <pc:spChg chg="mod">
            <ac:chgData name="Souther, Tyler" userId="875bc1d9-c1cb-4c7c-a5eb-f3e350e514db" providerId="ADAL" clId="{B16A9555-5E18-4327-B29F-96C169D34379}" dt="2024-10-29T22:16:15.692" v="8606"/>
            <ac:spMkLst>
              <pc:docMk/>
              <pc:sldMasterMk cId="1961464670" sldId="2147483706"/>
              <pc:sldLayoutMk cId="4115104953" sldId="2147483712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671" v="8576"/>
          <pc:sldLayoutMkLst>
            <pc:docMk/>
            <pc:sldMasterMk cId="1961464670" sldId="2147483706"/>
            <pc:sldLayoutMk cId="889829019" sldId="2147483713"/>
          </pc:sldLayoutMkLst>
          <pc:spChg chg="mod">
            <ac:chgData name="Souther, Tyler" userId="875bc1d9-c1cb-4c7c-a5eb-f3e350e514db" providerId="ADAL" clId="{B16A9555-5E18-4327-B29F-96C169D34379}" dt="2024-10-29T22:16:15.671" v="8576"/>
            <ac:spMkLst>
              <pc:docMk/>
              <pc:sldMasterMk cId="1961464670" sldId="2147483706"/>
              <pc:sldLayoutMk cId="889829019" sldId="2147483713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12" v="8636"/>
          <pc:sldLayoutMkLst>
            <pc:docMk/>
            <pc:sldMasterMk cId="1961464670" sldId="2147483706"/>
            <pc:sldLayoutMk cId="1728260855" sldId="2147483714"/>
          </pc:sldLayoutMkLst>
          <pc:spChg chg="mod">
            <ac:chgData name="Souther, Tyler" userId="875bc1d9-c1cb-4c7c-a5eb-f3e350e514db" providerId="ADAL" clId="{B16A9555-5E18-4327-B29F-96C169D34379}" dt="2024-10-29T22:16:15.712" v="8636"/>
            <ac:spMkLst>
              <pc:docMk/>
              <pc:sldMasterMk cId="1961464670" sldId="2147483706"/>
              <pc:sldLayoutMk cId="1728260855" sldId="2147483714"/>
              <ac:spMk id="5" creationId="{47218955-D351-40C8-BFD4-823635598113}"/>
            </ac:spMkLst>
          </pc:spChg>
        </pc:sldLayoutChg>
        <pc:sldLayoutChg chg="modSp mod">
          <pc:chgData name="Souther, Tyler" userId="875bc1d9-c1cb-4c7c-a5eb-f3e350e514db" providerId="ADAL" clId="{B16A9555-5E18-4327-B29F-96C169D34379}" dt="2024-10-29T22:16:15.726" v="8656"/>
          <pc:sldLayoutMkLst>
            <pc:docMk/>
            <pc:sldMasterMk cId="1961464670" sldId="2147483706"/>
            <pc:sldLayoutMk cId="3174024505" sldId="2147483715"/>
          </pc:sldLayoutMkLst>
          <pc:spChg chg="mod">
            <ac:chgData name="Souther, Tyler" userId="875bc1d9-c1cb-4c7c-a5eb-f3e350e514db" providerId="ADAL" clId="{B16A9555-5E18-4327-B29F-96C169D34379}" dt="2024-10-29T22:16:15.726" v="8656"/>
            <ac:spMkLst>
              <pc:docMk/>
              <pc:sldMasterMk cId="1961464670" sldId="2147483706"/>
              <pc:sldLayoutMk cId="3174024505" sldId="2147483715"/>
              <ac:spMk id="5" creationId="{47218955-D351-40C8-BFD4-823635598113}"/>
            </ac:spMkLst>
          </pc:s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48.xml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10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685213"/>
            <a:ext cx="6858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70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47.xml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10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685213"/>
            <a:ext cx="6858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0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2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4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644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7862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402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095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g"/><Relationship Id="rId7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10.jpg"/><Relationship Id="rId5" Type="http://schemas.openxmlformats.org/officeDocument/2006/relationships/image" Target="../media/image9.jp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1181100"/>
            <a:ext cx="62865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657601"/>
            <a:ext cx="4200525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475" y="392469"/>
            <a:ext cx="2057400" cy="40763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DFB5D57-D76E-452E-848B-C4707078F8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6204857"/>
            <a:ext cx="18288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08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  <p15:guide id="2" orient="horz" pos="321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FBFEE9-47FF-40D3-9890-0A297C65A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547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FBFEE9-47FF-40D3-9890-0A297C65A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89A5BF-574F-4EBE-A887-B19E73B5C8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7630F9-7DFE-4681-8FEA-6510F03972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101"/>
            <a:ext cx="4029075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D0781A84-B68E-4ABA-BE3F-1591264B20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3450" y="1181101"/>
            <a:ext cx="4029077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0999"/>
            <a:ext cx="6286501" cy="5715001"/>
          </a:xfrm>
        </p:spPr>
        <p:txBody>
          <a:bodyPr tIns="0"/>
          <a:lstStyle>
            <a:lvl1pPr>
              <a:lnSpc>
                <a:spcPct val="8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3"/>
          <p:cNvSpPr>
            <a:spLocks noChangeArrowheads="1"/>
          </p:cNvSpPr>
          <p:nvPr userDrawn="1"/>
        </p:nvSpPr>
        <p:spPr bwMode="auto">
          <a:xfrm>
            <a:off x="4946128" y="6478016"/>
            <a:ext cx="3088826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9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1000"/>
            <a:ext cx="4029076" cy="5715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3450" y="0"/>
            <a:ext cx="440055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2" userDrawn="1">
          <p15:clr>
            <a:srgbClr val="FBAE40"/>
          </p15:clr>
        </p15:guide>
        <p15:guide id="2" pos="298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1000"/>
            <a:ext cx="4029076" cy="57150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3450" y="0"/>
            <a:ext cx="440055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2" userDrawn="1">
          <p15:clr>
            <a:srgbClr val="FBAE40"/>
          </p15:clr>
        </p15:guide>
        <p15:guide id="2" pos="298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C4FA61-8681-4CCE-A300-954C39210D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5" y="1181100"/>
            <a:ext cx="8401050" cy="466344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18EA922-C92C-4AFE-8F8C-4C6FC6A3E54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B0E1F4-2F4A-4068-9412-42703EFEC1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5" y="1181099"/>
            <a:ext cx="4029075" cy="466344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59105BE-9443-4DB5-8A79-68A2799BA0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43449" y="1181099"/>
            <a:ext cx="4029077" cy="466344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3450" y="1181100"/>
            <a:ext cx="4029075" cy="466344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2EAEDD0-A35F-4B38-8359-296A2F6F6F1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84EA13-0694-4C7A-AC48-6F77F1D7C5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5" y="1181100"/>
            <a:ext cx="4029075" cy="466344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1475" y="1181100"/>
            <a:ext cx="4029075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3450" y="1181100"/>
            <a:ext cx="4029075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EA0B76E-0CE5-48CC-9380-74748B7F2F0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32488D-0F0D-4E7C-8B6F-6772CE0749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3886385"/>
            <a:ext cx="4029075" cy="2011681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6CF0C4-FB27-428A-A446-FCA838725E8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43452" y="3886200"/>
            <a:ext cx="4029075" cy="2011681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1E721B0-CDAF-44F4-8423-069EE7EBA5D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882DBD-7CE6-4E67-BE21-CF2EA9B8F0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181100"/>
            <a:ext cx="264519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68F25FA-7AB1-4485-8A29-0B13307C9F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9406" y="1181100"/>
            <a:ext cx="264519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D3C024F-607B-4696-868C-7A179354EF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27336" y="1181100"/>
            <a:ext cx="264519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1475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86151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0775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4201712-F7BB-4A99-8BB4-2F3A4AA5E7A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CA5848-1E3E-484D-A8BA-488AE247A9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3886200"/>
            <a:ext cx="257175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0D1185B-DC9F-45EC-924C-400E3CCFF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86151" y="3886200"/>
            <a:ext cx="257175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AB71A9-D925-4753-A467-93464FB522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0775" y="3886200"/>
            <a:ext cx="257175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1181100"/>
            <a:ext cx="62865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657601"/>
            <a:ext cx="4200525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475" y="381001"/>
            <a:ext cx="2057400" cy="419099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7A208A5-DD42-4321-AE8A-48F543586C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6204857"/>
            <a:ext cx="18288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543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  <p15:guide id="2" orient="horz" pos="321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7920842-F4A1-466C-8CAC-F232F8B1E21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D6088-971D-4AD9-A3B9-7C31EC5590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181100"/>
            <a:ext cx="1918798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0E3C9ED-4574-4EA1-BF6A-8AC71C5DC9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32226" y="1181100"/>
            <a:ext cx="1918798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4A3A4B2-BE5E-4259-ADCF-7B4B87BE02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92977" y="1181100"/>
            <a:ext cx="1918798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B55C525-D748-4F1F-B00C-0161C18468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53727" y="1181100"/>
            <a:ext cx="1918798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1475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557451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42904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927834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AFD6C4D-50E1-45BF-B2ED-0A9FFDEAE4C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51EC41-342E-4D02-9FFF-C5D4DEB2EEE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1475" y="3657599"/>
            <a:ext cx="1844675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47C2A36-7590-4740-94C1-01EC018E9EB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57451" y="3657599"/>
            <a:ext cx="1844675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A9BC169-559C-4F7E-A57E-01F28DA84F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1876" y="3657599"/>
            <a:ext cx="1844675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3E4D4D8-82E2-4E1B-B1D8-0A481E845E0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26301" y="3657599"/>
            <a:ext cx="1844675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E91B017-4E2A-4A38-92DF-E15E85281DA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1A302C-F620-47F3-89B7-1FC2A196FE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181099"/>
            <a:ext cx="4029074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9DF399D-538E-4A44-8F38-C4CDD177DE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43449" y="1181099"/>
            <a:ext cx="4029074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2C32CA4-A646-4DB1-98A0-21DB79D58D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6" y="3657600"/>
            <a:ext cx="4029074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D268984-FD8E-4787-89BD-2B962BD269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43449" y="3657600"/>
            <a:ext cx="4029074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AC9AF1B-77C9-4194-9346-57C0BA3539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F1BA960-F634-4BFE-B468-887287A86BD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9E6B73-C7B7-482C-A588-6792D62C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100"/>
            <a:ext cx="8401050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9A3177-5314-4162-AEDA-FD50A4159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101"/>
            <a:ext cx="4029075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FCA8548-4236-4C23-A633-9F2F0E3BC2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3450" y="1181101"/>
            <a:ext cx="4029075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3450" y="1181100"/>
            <a:ext cx="4029075" cy="4914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85A23-2758-42AF-8508-3F7213122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6" y="1181100"/>
            <a:ext cx="4029075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1475" y="1181100"/>
            <a:ext cx="4029075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3450" y="1181100"/>
            <a:ext cx="4029075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529F3F-4A1B-4316-A963-B7F0BCB9C7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5" y="3886200"/>
            <a:ext cx="4029075" cy="22098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1B3B3EA-46C5-4F3C-A05C-1E65859A6A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43449" y="3886200"/>
            <a:ext cx="4029075" cy="22098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E4070D-4D68-4B0E-99D3-56723F6E22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100"/>
            <a:ext cx="2628099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C44DBD4-130D-4000-BE4C-130497236B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57950" y="1181100"/>
            <a:ext cx="2628099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838848C-2E86-47CF-AB76-7C3F5555DE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44427" y="1181100"/>
            <a:ext cx="2628099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1181100"/>
            <a:ext cx="62865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657601"/>
            <a:ext cx="4200525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475" y="381001"/>
            <a:ext cx="2057400" cy="41910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756A795-DB7D-42FC-A514-0D22DC70DE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6204857"/>
            <a:ext cx="18288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  <p15:guide id="2" orient="horz" pos="321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1475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86151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0775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E0D5FF-A12A-4A26-8652-14F08C1690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5" y="3886200"/>
            <a:ext cx="257175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130903-25B6-495D-9F9B-EE0D7C541C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86125" y="3886200"/>
            <a:ext cx="257175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4F72656-28AE-4BD6-A453-E95CEC384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00775" y="3886200"/>
            <a:ext cx="257175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A572FC-49A0-4A00-91C9-26DE09B2A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099"/>
            <a:ext cx="2004255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36FCFF6-1D52-41AB-92CC-81BB0E2D3B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3740" y="1181099"/>
            <a:ext cx="2004255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F495DB9-D632-4C9E-BC1B-C5E4627F2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36005" y="1181099"/>
            <a:ext cx="2004255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89E66F3-24F9-4E52-BED5-06D3929B00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8271" y="1181099"/>
            <a:ext cx="2004255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1475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557451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42904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927834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F2FC03-71CF-4FB1-8012-40F6458F32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3657601"/>
            <a:ext cx="1844675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F1FD01D-2E17-4D6F-862B-EAB2FE451B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57055" y="3657601"/>
            <a:ext cx="1844675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27D457A-2050-465F-9F98-78757B33D08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2272" y="3657601"/>
            <a:ext cx="1844675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10D5E3D-BE05-4F33-9E34-8B0B639BB1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27438" y="3657601"/>
            <a:ext cx="1844675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200414-C27C-4EAF-8828-8B5D0E9045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6" y="1181100"/>
            <a:ext cx="4029074" cy="2247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D63F576-0CF3-44CC-B07C-B8D4061FBA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6" y="3657600"/>
            <a:ext cx="4029074" cy="24384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CF7C5A7-1B5F-4106-AF84-D9162AE128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3450" y="1181100"/>
            <a:ext cx="4029074" cy="2247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E274C7-1613-423E-BB7B-522987CD14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43450" y="3657600"/>
            <a:ext cx="4029074" cy="24384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OF THE TEMPLA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703B52-DBF5-48FD-AB36-B36970177F1B}"/>
              </a:ext>
            </a:extLst>
          </p:cNvPr>
          <p:cNvSpPr txBox="1"/>
          <p:nvPr userDrawn="1"/>
        </p:nvSpPr>
        <p:spPr>
          <a:xfrm>
            <a:off x="3387128" y="2978965"/>
            <a:ext cx="2369744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4950" b="1">
                <a:solidFill>
                  <a:schemeClr val="bg1"/>
                </a:solidFill>
                <a:latin typeface="+mj-lt"/>
              </a:rPr>
              <a:t>END OF THE TEMPLATE</a:t>
            </a:r>
          </a:p>
        </p:txBody>
      </p:sp>
    </p:spTree>
    <p:extLst>
      <p:ext uri="{BB962C8B-B14F-4D97-AF65-F5344CB8AC3E}">
        <p14:creationId xmlns:p14="http://schemas.microsoft.com/office/powerpoint/2010/main" val="20493708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91465" y="1577340"/>
            <a:ext cx="2414016" cy="1709927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25817" y="3310127"/>
            <a:ext cx="7539800" cy="3547870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21817" y="3310128"/>
            <a:ext cx="2473452" cy="2471928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4858" y="1"/>
            <a:ext cx="2610612" cy="1630679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766309" y="10667"/>
            <a:ext cx="2208276" cy="1292352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4745735" y="1292352"/>
            <a:ext cx="2407158" cy="2022348"/>
          </a:xfrm>
          <a:prstGeom prst="rect">
            <a:avLst/>
          </a:prstGeom>
        </p:spPr>
      </p:pic>
      <p:pic>
        <p:nvPicPr>
          <p:cNvPr id="22" name="bg object 22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540371" y="6396228"/>
            <a:ext cx="1211580" cy="303276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  <p:custDataLst>
              <p:tags r:id="rId1"/>
            </p:custDataLst>
          </p:nvPr>
        </p:nvSpPr>
        <p:spPr/>
        <p:txBody>
          <a:bodyPr lIns="0" tIns="0" rIns="0" bIns="0"/>
          <a:lstStyle>
            <a:lvl1pPr algn="l"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9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28575">
              <a:lnSpc>
                <a:spcPts val="930"/>
              </a:lnSpc>
            </a:pPr>
            <a:fld id="{81D60167-4931-47E6-BA6A-407CBD079E47}" type="slidenum">
              <a:rPr spc="-19" dirty="0"/>
              <a:pPr marL="28575">
                <a:lnSpc>
                  <a:spcPts val="930"/>
                </a:lnSpc>
              </a:pPr>
              <a:t>‹#›</a:t>
            </a:fld>
            <a:endParaRPr spc="-19" dirty="0"/>
          </a:p>
        </p:txBody>
      </p:sp>
    </p:spTree>
    <p:extLst>
      <p:ext uri="{BB962C8B-B14F-4D97-AF65-F5344CB8AC3E}">
        <p14:creationId xmlns:p14="http://schemas.microsoft.com/office/powerpoint/2010/main" val="12711057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3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  <p:custDataLst>
              <p:tags r:id="rId1"/>
            </p:custDataLst>
          </p:nvPr>
        </p:nvSpPr>
        <p:spPr/>
        <p:txBody>
          <a:bodyPr lIns="0" tIns="0" rIns="0" bIns="0"/>
          <a:lstStyle>
            <a:lvl1pPr algn="l"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28575">
              <a:lnSpc>
                <a:spcPts val="930"/>
              </a:lnSpc>
            </a:pPr>
            <a:fld id="{81D60167-4931-47E6-BA6A-407CBD079E47}" type="slidenum">
              <a:rPr spc="-19" dirty="0"/>
              <a:pPr marL="28575">
                <a:lnSpc>
                  <a:spcPts val="930"/>
                </a:lnSpc>
              </a:pPr>
              <a:t>‹#›</a:t>
            </a:fld>
            <a:endParaRPr spc="-19" dirty="0"/>
          </a:p>
        </p:txBody>
      </p:sp>
    </p:spTree>
    <p:extLst>
      <p:ext uri="{BB962C8B-B14F-4D97-AF65-F5344CB8AC3E}">
        <p14:creationId xmlns:p14="http://schemas.microsoft.com/office/powerpoint/2010/main" val="26865329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9E550D-F156-41EE-8917-B339443CCE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66C901-B254-48F1-81AB-F90E3B307F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9C9D79-9094-47B9-BBE9-EDE11EF319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EB601C-7EDE-43A7-A22E-A59FBF35779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5A3357-DD0F-49ED-BD52-AE6ED7D21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310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37623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75246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0492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12869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3429001"/>
            <a:ext cx="8401050" cy="9525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4" y="4800601"/>
            <a:ext cx="4200525" cy="1066801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tx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57975" y="4800602"/>
            <a:ext cx="2114550" cy="67362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4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3F60E7B-C7CA-4734-94BC-AB694D035D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6204857"/>
            <a:ext cx="18288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22E6F-6B3A-4446-BB8B-7876A4D34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9DA429-9E61-4B0E-B689-BEB04A59C3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5F95A4-5C75-443F-8B67-7A2DD9D71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F6E74F-D81D-437B-A881-99B4FB51E56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4F5EED-1915-420C-8785-19220DFB6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7039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66950-6E49-4DEF-A5BC-F0D00EE90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95C8B1-4D0A-44C0-A387-995D12927E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8DE681-9FD3-415A-9EB4-736CEF971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81DEAB-AC68-4E05-8B32-A3B173C8806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1FD8C-DF81-4049-94E1-8568A0516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087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096F2A-427B-4E27-887C-2B70E7C4F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522FEC-37D4-40CE-A32A-99C8DE47AC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8079F4-D2DF-42E0-A4C5-23FA6484DD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00AA4D-9493-49C6-8893-BB5148E2CB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561153-41B5-4384-9CEF-3912A952B4B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42CD4-539D-44F7-BF34-A19EFDCB9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0009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09E04-BDB5-4CE4-A131-6544D4296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125FB3-464B-43A6-823D-8135E661E1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11B41-56AA-4D29-8637-A27526F752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07F323-AE8D-46BA-8A1D-3278FC5665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B6ADF4D-204D-4B4C-BB6B-DB544DBD75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048AF1-7A48-4831-8149-75BD593C0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7716C2-0A32-40C0-9690-3039B5F8613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8F38B4-AE05-488A-9903-A9742B167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72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02FA57-377F-49FC-B1D9-F51CE1212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642AD9-C2BA-40B7-B88B-E16C7B781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C18359-5D55-4294-BFD9-11A4D565D3C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9B0317-E53A-4EF2-B580-44AFB8CB26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0205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A1F888-FE99-49F7-B143-EE44E6EFB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2623ED-67E6-42B0-83E9-ACD27FC0A76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9D3580-F53C-42DC-8890-93C724613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9376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0D73F-F88B-4886-A018-75BDAE979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574818-2C38-487B-9E28-869B6D2DCD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F58D30-F48B-421B-9403-A4E8A710CC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AF9F58-9BCE-452D-8A53-04C1CEAF53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CFB3F6-CE07-46B8-96A7-1AEDC302EF2A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1EAEA6-282D-42C8-9200-36DE4FA68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5527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91724-6712-407E-9ADB-724AD3FA2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FF014A-6AD6-4386-978D-1D6BB6E8D6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7707E8-B3D8-40D1-A324-02A3E402D1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DF2E6E-6615-4CF4-BC44-C1A57D305E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5E174A-C246-4216-9661-D0F90E59FB68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FACBDA-940D-42CB-8EB7-2C8A1E8EB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9528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36278-739B-4122-B9AA-48795EF50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8DE3CE6-7CEF-42AB-B412-725C885CF8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03799D-48DB-41CC-9519-0768C3D72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38A41A-CBB4-4EAB-B726-90F50AC276C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7A2153-102A-4158-B886-BEBA01E05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207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2811C2-6E02-4BAF-B04F-4838020EC85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444E2B-D201-4E73-AC4F-B0809CA19C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01141B-7EA0-4499-BC8D-A58FC93A6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CBB433-FE4E-4F17-AE6A-7100D1923847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09CC08-DA26-4F4C-84E2-A738302B84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7279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181101"/>
            <a:ext cx="6286500" cy="2247899"/>
          </a:xfrm>
        </p:spPr>
        <p:txBody>
          <a:bodyPr tIns="0" anchor="t"/>
          <a:lstStyle>
            <a:lvl1pPr>
              <a:lnSpc>
                <a:spcPct val="80000"/>
              </a:lnSpc>
              <a:defRPr lang="en-US" sz="40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3657600"/>
            <a:ext cx="4200525" cy="243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14ED02A-9FD6-4353-89BC-4BABACB927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657600"/>
            <a:ext cx="62865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5105401"/>
            <a:ext cx="6286500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DDF522C-363E-4031-B628-44EA69B774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41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657600"/>
            <a:ext cx="62865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5105401"/>
            <a:ext cx="6286499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36142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72284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44567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8425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CB44FDD-F73B-434F-ACF6-0CD5A93028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419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429001"/>
            <a:ext cx="6286500" cy="14477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4876801"/>
            <a:ext cx="6286500" cy="12191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CBF321E-9BDF-4B43-9412-BE2C1DE6CD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419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181102"/>
            <a:ext cx="4200525" cy="22478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3848100"/>
            <a:ext cx="4200525" cy="22478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679AD7C-6C2B-4F22-9991-04C10E3481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419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4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35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6EFD35-96B0-4B47-9487-5DD96F489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933145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4" imgW="347" imgH="348" progId="TCLayout.ActiveDocument.1">
                  <p:embed/>
                </p:oleObj>
              </mc:Choice>
              <mc:Fallback>
                <p:oleObj name="think-cell Slide" r:id="rId4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6EFD35-96B0-4B47-9487-5DD96F489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064DF94-7244-4BF8-9BB4-3CC3FB89811A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5346"/>
            <a:ext cx="8401051" cy="4115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9C61BD-1A56-4C96-8300-B2F24AEB8A0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3"/>
            </p:custDataLst>
          </p:nvPr>
        </p:nvSpPr>
        <p:spPr>
          <a:xfrm>
            <a:off x="0" y="6480165"/>
            <a:ext cx="9144000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9817" y="6480165"/>
            <a:ext cx="372709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946128" y="6478016"/>
            <a:ext cx="3088826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BF797E-7EC6-4711-AAB8-6396BD7D8B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4" y="1089024"/>
            <a:ext cx="8401051" cy="5159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71" r:id="rId2"/>
    <p:sldLayoutId id="2147483675" r:id="rId3"/>
    <p:sldLayoutId id="2147483679" r:id="rId4"/>
    <p:sldLayoutId id="2147483709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713" r:id="rId12"/>
    <p:sldLayoutId id="2147483670" r:id="rId13"/>
    <p:sldLayoutId id="2147483708" r:id="rId14"/>
    <p:sldLayoutId id="2147483712" r:id="rId15"/>
    <p:sldLayoutId id="2147483664" r:id="rId16"/>
    <p:sldLayoutId id="2147483661" r:id="rId17"/>
    <p:sldLayoutId id="2147483714" r:id="rId18"/>
    <p:sldLayoutId id="2147483662" r:id="rId19"/>
    <p:sldLayoutId id="2147483715" r:id="rId20"/>
    <p:sldLayoutId id="2147483663" r:id="rId21"/>
    <p:sldLayoutId id="2147483660" r:id="rId22"/>
    <p:sldLayoutId id="2147483710" r:id="rId23"/>
    <p:sldLayoutId id="2147483711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2" r:id="rId34"/>
    <p:sldLayoutId id="2147483703" r:id="rId35"/>
    <p:sldLayoutId id="2147483672" r:id="rId36"/>
    <p:sldLayoutId id="2147483704" r:id="rId37"/>
    <p:sldLayoutId id="2147483705" r:id="rId3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C202E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701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4213" indent="-22225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54075" indent="-16986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42950" indent="-111125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2880" userDrawn="1">
          <p15:clr>
            <a:srgbClr val="9FCC3B"/>
          </p15:clr>
        </p15:guide>
        <p15:guide id="3" orient="horz" pos="504" userDrawn="1">
          <p15:clr>
            <a:srgbClr val="9FCC3B"/>
          </p15:clr>
        </p15:guide>
        <p15:guide id="4" orient="horz" pos="4080" userDrawn="1">
          <p15:clr>
            <a:srgbClr val="FDE53C"/>
          </p15:clr>
        </p15:guide>
        <p15:guide id="6" pos="5526" userDrawn="1">
          <p15:clr>
            <a:srgbClr val="9FCC3B"/>
          </p15:clr>
        </p15:guide>
        <p15:guide id="7" orient="horz" pos="3840" userDrawn="1">
          <p15:clr>
            <a:srgbClr val="9FCC3B"/>
          </p15:clr>
        </p15:guide>
        <p15:guide id="10" orient="horz" pos="744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576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234" userDrawn="1">
          <p15:clr>
            <a:srgbClr val="9FCC3B"/>
          </p15:clr>
        </p15:guide>
        <p15:guide id="17" orient="horz" pos="240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4B65B7-9E83-453D-A2E3-8B42BE57A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89661C-0B68-4E6A-8CE5-5329DD92D3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DFFADD-AEF0-4793-B32E-C51CE7FA06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644EFE-5066-49B2-A7B2-A1BCAC1B356A}" type="datetimeFigureOut">
              <a:rPr lang="en-US" smtClean="0"/>
              <a:t>10/2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2D8E6-807F-4A55-AD0E-6E71154AAFB2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0" y="6356351"/>
            <a:ext cx="9144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A07198-6AF8-4C27-9FF0-03A765375A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2FA37C-0768-4C0A-87AA-AEDEB73660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040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2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7.jpeg"/><Relationship Id="rId12" Type="http://schemas.openxmlformats.org/officeDocument/2006/relationships/image" Target="../media/image21.jpe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9.xml"/><Relationship Id="rId6" Type="http://schemas.openxmlformats.org/officeDocument/2006/relationships/image" Target="../media/image16.jpg"/><Relationship Id="rId11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5" Type="http://schemas.openxmlformats.org/officeDocument/2006/relationships/image" Target="../media/image15.png"/><Relationship Id="rId15" Type="http://schemas.openxmlformats.org/officeDocument/2006/relationships/image" Target="../media/image24.wmf"/><Relationship Id="rId10" Type="http://schemas.openxmlformats.org/officeDocument/2006/relationships/image" Target="../media/image20.png"/><Relationship Id="rId4" Type="http://schemas.openxmlformats.org/officeDocument/2006/relationships/image" Target="../media/image14.jpg"/><Relationship Id="rId9" Type="http://schemas.openxmlformats.org/officeDocument/2006/relationships/image" Target="../media/image19.png"/><Relationship Id="rId14" Type="http://schemas.openxmlformats.org/officeDocument/2006/relationships/image" Target="../media/image2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51.xml"/><Relationship Id="rId5" Type="http://schemas.openxmlformats.org/officeDocument/2006/relationships/image" Target="../media/image26.jpg"/><Relationship Id="rId4" Type="http://schemas.openxmlformats.org/officeDocument/2006/relationships/image" Target="../media/image2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0.jpg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53.xml"/><Relationship Id="rId6" Type="http://schemas.openxmlformats.org/officeDocument/2006/relationships/image" Target="../media/image29.jpg"/><Relationship Id="rId5" Type="http://schemas.openxmlformats.org/officeDocument/2006/relationships/image" Target="../media/image28.jpg"/><Relationship Id="rId4" Type="http://schemas.openxmlformats.org/officeDocument/2006/relationships/image" Target="../media/image2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55.xml"/><Relationship Id="rId4" Type="http://schemas.openxmlformats.org/officeDocument/2006/relationships/image" Target="../media/image3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713BE8-5456-451B-8AFC-64E89C8E1B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05" y="1293314"/>
            <a:ext cx="2414067" cy="1282637"/>
          </a:xfrm>
          <a:prstGeom prst="rect">
            <a:avLst/>
          </a:prstGeom>
        </p:spPr>
      </p:pic>
      <p:sp>
        <p:nvSpPr>
          <p:cNvPr id="4" name="object 7">
            <a:extLst>
              <a:ext uri="{FF2B5EF4-FFF2-40B4-BE49-F238E27FC236}">
                <a16:creationId xmlns:a16="http://schemas.microsoft.com/office/drawing/2014/main" id="{7099F808-141A-4075-A233-8F312E763086}"/>
              </a:ext>
            </a:extLst>
          </p:cNvPr>
          <p:cNvSpPr/>
          <p:nvPr/>
        </p:nvSpPr>
        <p:spPr>
          <a:xfrm>
            <a:off x="606433" y="2547668"/>
            <a:ext cx="7543800" cy="266090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 dirty="0"/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A8212731-9353-43BE-9655-D8D4893BDBF9}"/>
              </a:ext>
            </a:extLst>
          </p:cNvPr>
          <p:cNvSpPr/>
          <p:nvPr/>
        </p:nvSpPr>
        <p:spPr>
          <a:xfrm>
            <a:off x="685651" y="2547668"/>
            <a:ext cx="2473452" cy="185394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 dirty="0"/>
          </a:p>
        </p:txBody>
      </p:sp>
      <p:pic>
        <p:nvPicPr>
          <p:cNvPr id="1026" name="Picture 2" descr="https://www.garmin.com/en-US/blog/wp-content/uploads/2018/10/Gulfstream-G280-Aerial_blog.jpg">
            <a:extLst>
              <a:ext uri="{FF2B5EF4-FFF2-40B4-BE49-F238E27FC236}">
                <a16:creationId xmlns:a16="http://schemas.microsoft.com/office/drawing/2014/main" id="{2D495FA6-7331-49C8-8899-1EBA454C0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5" y="-2828"/>
            <a:ext cx="2610608" cy="1223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egacy 500">
            <a:extLst>
              <a:ext uri="{FF2B5EF4-FFF2-40B4-BE49-F238E27FC236}">
                <a16:creationId xmlns:a16="http://schemas.microsoft.com/office/drawing/2014/main" id="{C08E1592-3B0E-4E3E-8F10-75AACA7C2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314" y="5609"/>
            <a:ext cx="2308226" cy="1012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elicopter">
            <a:extLst>
              <a:ext uri="{FF2B5EF4-FFF2-40B4-BE49-F238E27FC236}">
                <a16:creationId xmlns:a16="http://schemas.microsoft.com/office/drawing/2014/main" id="{5062B430-18EE-4280-9FD5-3AF0E01C85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916" y="998478"/>
            <a:ext cx="2311492" cy="1583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\\localhost\Volumes\DMS-Server\Clients\Honeywell PPT \Honeywell - Freestanding Logos\Honeywell - Freestanding Logo RGB.png">
            <a:extLst>
              <a:ext uri="{FF2B5EF4-FFF2-40B4-BE49-F238E27FC236}">
                <a16:creationId xmlns:a16="http://schemas.microsoft.com/office/drawing/2014/main" id="{FAB5C03C-7669-408B-BBCE-C007254F65C3}"/>
              </a:ext>
            </a:extLst>
          </p:cNvPr>
          <p:cNvPicPr>
            <a:picLocks noChangeAspect="1"/>
          </p:cNvPicPr>
          <p:nvPr/>
        </p:nvPicPr>
        <p:blipFill>
          <a:blip r:embed="rId10" r:link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896" y="6220342"/>
            <a:ext cx="1211310" cy="227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A1EF08A-88F2-4165-A502-BA6D4158892E}"/>
              </a:ext>
            </a:extLst>
          </p:cNvPr>
          <p:cNvSpPr txBox="1"/>
          <p:nvPr/>
        </p:nvSpPr>
        <p:spPr>
          <a:xfrm>
            <a:off x="422229" y="5205755"/>
            <a:ext cx="8657316" cy="6924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800" b="1" dirty="0"/>
              <a:t>   </a:t>
            </a:r>
            <a:r>
              <a:rPr lang="en-US" b="1" dirty="0">
                <a:latin typeface="Calibri"/>
                <a:ea typeface="Calibri"/>
                <a:cs typeface="Calibri"/>
              </a:rPr>
              <a:t>    </a:t>
            </a:r>
            <a:r>
              <a:rPr lang="en-US" sz="2100" b="1" cap="all" dirty="0">
                <a:latin typeface="Arial"/>
                <a:cs typeface="Arial"/>
              </a:rPr>
              <a:t>FORWARD Outer Bypass Hi-Lok Bleed Boss Issue</a:t>
            </a:r>
            <a:endParaRPr lang="en-US" sz="2100" dirty="0">
              <a:latin typeface="Arial"/>
              <a:cs typeface="Arial"/>
            </a:endParaRPr>
          </a:p>
          <a:p>
            <a:endParaRPr lang="en-US" sz="1800" b="1" dirty="0">
              <a:ea typeface="Calibri"/>
              <a:cs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272B33-11EF-4F10-8717-EBB1448A7969}"/>
              </a:ext>
            </a:extLst>
          </p:cNvPr>
          <p:cNvSpPr txBox="1"/>
          <p:nvPr/>
        </p:nvSpPr>
        <p:spPr>
          <a:xfrm>
            <a:off x="422229" y="5960390"/>
            <a:ext cx="1745229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>
                <a:latin typeface="Arial"/>
                <a:cs typeface="Arial"/>
              </a:rPr>
              <a:t>11/13/2024</a:t>
            </a:r>
          </a:p>
        </p:txBody>
      </p:sp>
      <p:pic>
        <p:nvPicPr>
          <p:cNvPr id="11" name="Picture 2" descr="Image result for htf7000">
            <a:extLst>
              <a:ext uri="{FF2B5EF4-FFF2-40B4-BE49-F238E27FC236}">
                <a16:creationId xmlns:a16="http://schemas.microsoft.com/office/drawing/2014/main" id="{67F32890-3791-4E6A-A410-E519612CB5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0934" y="998577"/>
            <a:ext cx="2111720" cy="1577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Honeywell flight test aircraft">
            <a:extLst>
              <a:ext uri="{FF2B5EF4-FFF2-40B4-BE49-F238E27FC236}">
                <a16:creationId xmlns:a16="http://schemas.microsoft.com/office/drawing/2014/main" id="{A488928A-CF4E-453B-82CE-F50D8C2B14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299" y="-943"/>
            <a:ext cx="2123332" cy="1422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s30121.pcdn.co/wp-content/uploads/2019/09/Longitude_AirtoAir-1.jpg">
            <a:extLst>
              <a:ext uri="{FF2B5EF4-FFF2-40B4-BE49-F238E27FC236}">
                <a16:creationId xmlns:a16="http://schemas.microsoft.com/office/drawing/2014/main" id="{C34182BE-1757-43E0-A4B1-5588B8B120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5358" y="1214096"/>
            <a:ext cx="2210086" cy="1332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B:\db\nacelle.cgm">
            <a:extLst>
              <a:ext uri="{FF2B5EF4-FFF2-40B4-BE49-F238E27FC236}">
                <a16:creationId xmlns:a16="http://schemas.microsoft.com/office/drawing/2014/main" id="{56B3BC70-8853-49E9-A028-F6FCA6510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085521" y="120106"/>
            <a:ext cx="1989949" cy="785197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E9CA8E6-FE7C-4BA0-8FD4-32A62497A41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</p:spTree>
    <p:extLst>
      <p:ext uri="{BB962C8B-B14F-4D97-AF65-F5344CB8AC3E}">
        <p14:creationId xmlns:p14="http://schemas.microsoft.com/office/powerpoint/2010/main" val="34087762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0307" y="699867"/>
            <a:ext cx="8807806" cy="1592103"/>
          </a:xfrm>
          <a:prstGeom prst="rect">
            <a:avLst/>
          </a:prstGeom>
        </p:spPr>
        <p:txBody>
          <a:bodyPr vert="horz" wrap="square" lIns="0" tIns="9525" rIns="0" bIns="0" rtlCol="0" anchor="t">
            <a:spAutoFit/>
          </a:bodyPr>
          <a:lstStyle/>
          <a:p>
            <a:pPr marL="9525">
              <a:lnSpc>
                <a:spcPct val="100000"/>
              </a:lnSpc>
              <a:spcBef>
                <a:spcPts val="75"/>
              </a:spcBef>
            </a:pPr>
            <a:r>
              <a:rPr lang="en-US" b="1" spc="-8" dirty="0">
                <a:latin typeface="Arial"/>
                <a:cs typeface="Arial"/>
              </a:rPr>
              <a:t>ISSUE</a:t>
            </a:r>
            <a:endParaRPr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8"/>
              </a:spcBef>
            </a:pPr>
            <a:endParaRPr dirty="0">
              <a:latin typeface="Arial"/>
              <a:cs typeface="Arial"/>
            </a:endParaRPr>
          </a:p>
          <a:p>
            <a:pPr marL="222885" marR="255905" indent="-213995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24314" algn="l"/>
              </a:tabLst>
            </a:pPr>
            <a:r>
              <a:rPr lang="en-US" sz="1600" spc="-15" dirty="0">
                <a:latin typeface="Arial"/>
                <a:cs typeface="Arial"/>
              </a:rPr>
              <a:t>H</a:t>
            </a:r>
            <a:r>
              <a:rPr sz="1600" spc="-15" dirty="0">
                <a:latin typeface="Arial"/>
                <a:cs typeface="Arial"/>
              </a:rPr>
              <a:t>i-</a:t>
            </a:r>
            <a:r>
              <a:rPr sz="1600" dirty="0">
                <a:latin typeface="Arial"/>
                <a:cs typeface="Arial"/>
              </a:rPr>
              <a:t>Lok</a:t>
            </a:r>
            <a:r>
              <a:rPr lang="en-US" sz="1600" dirty="0">
                <a:latin typeface="Arial"/>
                <a:cs typeface="Arial"/>
              </a:rPr>
              <a:t> fasteners </a:t>
            </a:r>
            <a:r>
              <a:rPr sz="1600" dirty="0">
                <a:latin typeface="Arial"/>
                <a:cs typeface="Arial"/>
              </a:rPr>
              <a:t>have</a:t>
            </a:r>
            <a:r>
              <a:rPr sz="1600" spc="-19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been</a:t>
            </a:r>
            <a:r>
              <a:rPr sz="1600" spc="-23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reported</a:t>
            </a:r>
            <a:r>
              <a:rPr sz="1600" spc="-23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as</a:t>
            </a:r>
            <a:r>
              <a:rPr sz="1600" spc="-23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loose,</a:t>
            </a:r>
            <a:r>
              <a:rPr sz="1600" spc="-23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missing</a:t>
            </a:r>
            <a:r>
              <a:rPr sz="1600" spc="-19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or</a:t>
            </a:r>
            <a:r>
              <a:rPr sz="1600" spc="-26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exhibit</a:t>
            </a:r>
            <a:r>
              <a:rPr sz="1600" spc="-8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a</a:t>
            </a:r>
            <a:r>
              <a:rPr sz="1600" spc="-23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“nested”</a:t>
            </a:r>
            <a:r>
              <a:rPr sz="1600" spc="-23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condition</a:t>
            </a:r>
            <a:endParaRPr lang="en-US" sz="1600" dirty="0">
              <a:latin typeface="Arial"/>
              <a:cs typeface="Arial"/>
            </a:endParaRPr>
          </a:p>
          <a:p>
            <a:pPr marL="223520" indent="-213995">
              <a:buFont typeface="Arial" panose="020B0604020202020204" pitchFamily="34" charset="0"/>
              <a:buChar char="•"/>
              <a:tabLst>
                <a:tab pos="224314" algn="l"/>
              </a:tabLst>
            </a:pPr>
            <a:r>
              <a:rPr lang="en-US" sz="1600" dirty="0">
                <a:latin typeface="Arial"/>
                <a:cs typeface="Arial"/>
              </a:rPr>
              <a:t>S</a:t>
            </a:r>
            <a:r>
              <a:rPr sz="1600" dirty="0">
                <a:latin typeface="Arial"/>
                <a:cs typeface="Arial"/>
              </a:rPr>
              <a:t>ecure</a:t>
            </a:r>
            <a:r>
              <a:rPr sz="1600" spc="-11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the</a:t>
            </a:r>
            <a:r>
              <a:rPr sz="1600" spc="-19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HP/LP</a:t>
            </a:r>
            <a:r>
              <a:rPr sz="1600" spc="-30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bleed</a:t>
            </a:r>
            <a:r>
              <a:rPr sz="1600" spc="-8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boss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and</a:t>
            </a:r>
            <a:r>
              <a:rPr sz="1600" spc="-8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fire</a:t>
            </a:r>
            <a:r>
              <a:rPr sz="1600" spc="-11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shield</a:t>
            </a:r>
            <a:r>
              <a:rPr sz="1600" spc="-8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to</a:t>
            </a:r>
            <a:r>
              <a:rPr sz="1600" spc="-1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the</a:t>
            </a:r>
            <a:r>
              <a:rPr lang="en-US" sz="1600" spc="-19" dirty="0">
                <a:latin typeface="Arial"/>
                <a:cs typeface="Arial"/>
              </a:rPr>
              <a:t> forward </a:t>
            </a:r>
            <a:r>
              <a:rPr sz="1600" dirty="0">
                <a:latin typeface="Arial"/>
                <a:cs typeface="Arial"/>
              </a:rPr>
              <a:t>outer</a:t>
            </a:r>
            <a:r>
              <a:rPr sz="1600" spc="-4" dirty="0">
                <a:latin typeface="Arial"/>
                <a:cs typeface="Arial"/>
              </a:rPr>
              <a:t> </a:t>
            </a:r>
            <a:r>
              <a:rPr lang="en-US" sz="1600" spc="-4" dirty="0">
                <a:latin typeface="Arial"/>
                <a:cs typeface="Arial"/>
              </a:rPr>
              <a:t>fan duct </a:t>
            </a:r>
            <a:r>
              <a:rPr lang="en-US" sz="1600" spc="-4" dirty="0" err="1">
                <a:latin typeface="Arial"/>
                <a:cs typeface="Arial"/>
              </a:rPr>
              <a:t>assy</a:t>
            </a:r>
            <a:endParaRPr lang="en-US" sz="1600" dirty="0">
              <a:latin typeface="Arial"/>
              <a:cs typeface="Arial"/>
            </a:endParaRPr>
          </a:p>
          <a:p>
            <a:pPr marL="223520" indent="-213995">
              <a:buFont typeface="Arial" panose="020B0604020202020204" pitchFamily="34" charset="0"/>
              <a:buChar char="•"/>
              <a:tabLst>
                <a:tab pos="224314" algn="l"/>
              </a:tabLst>
            </a:pPr>
            <a:r>
              <a:rPr lang="en-US" sz="1600" spc="-15" dirty="0">
                <a:latin typeface="Arial"/>
                <a:cs typeface="Arial"/>
              </a:rPr>
              <a:t>Typically observed at service center maintenance level – 4800 hour / compressor repair</a:t>
            </a:r>
            <a:endParaRPr lang="en-US" sz="1600" dirty="0">
              <a:latin typeface="Arial"/>
              <a:cs typeface="Arial"/>
            </a:endParaRPr>
          </a:p>
          <a:p>
            <a:pPr marL="223520" indent="-213995">
              <a:lnSpc>
                <a:spcPct val="100000"/>
              </a:lnSpc>
              <a:buClr>
                <a:srgbClr val="FF0000"/>
              </a:buClr>
              <a:buFont typeface="Arial" panose="020B0604020202020204" pitchFamily="34" charset="0"/>
              <a:buChar char="•"/>
              <a:tabLst>
                <a:tab pos="224314" algn="l"/>
              </a:tabLst>
            </a:pPr>
            <a:endParaRPr b="1" dirty="0"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04640" y="185598"/>
            <a:ext cx="8401051" cy="332303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71"/>
              </a:spcBef>
            </a:pPr>
            <a:r>
              <a:rPr lang="en-US" dirty="0"/>
              <a:t>    FORWARD</a:t>
            </a:r>
            <a:r>
              <a:rPr spc="-71" dirty="0"/>
              <a:t> </a:t>
            </a:r>
            <a:r>
              <a:rPr dirty="0"/>
              <a:t>Outer</a:t>
            </a:r>
            <a:r>
              <a:rPr spc="-60" dirty="0"/>
              <a:t> </a:t>
            </a:r>
            <a:r>
              <a:rPr dirty="0"/>
              <a:t>Bypass</a:t>
            </a:r>
            <a:r>
              <a:rPr spc="-26" dirty="0"/>
              <a:t> </a:t>
            </a:r>
            <a:r>
              <a:rPr spc="-8" dirty="0"/>
              <a:t>Hi-</a:t>
            </a:r>
            <a:r>
              <a:rPr dirty="0"/>
              <a:t>Lok</a:t>
            </a:r>
            <a:r>
              <a:rPr spc="-56" dirty="0"/>
              <a:t> </a:t>
            </a:r>
            <a:r>
              <a:rPr dirty="0"/>
              <a:t>Bleed</a:t>
            </a:r>
            <a:r>
              <a:rPr spc="-56" dirty="0"/>
              <a:t> </a:t>
            </a:r>
            <a:r>
              <a:rPr dirty="0"/>
              <a:t>Boss</a:t>
            </a:r>
            <a:r>
              <a:rPr spc="-60" dirty="0"/>
              <a:t> </a:t>
            </a:r>
            <a:r>
              <a:rPr spc="-8" dirty="0"/>
              <a:t>Issue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8388476" y="5715457"/>
            <a:ext cx="58103" cy="117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855"/>
              </a:lnSpc>
            </a:pPr>
            <a:r>
              <a:rPr sz="900" spc="-45" dirty="0">
                <a:solidFill>
                  <a:srgbClr val="888888"/>
                </a:solidFill>
                <a:latin typeface="Calibri"/>
                <a:cs typeface="Calibri"/>
              </a:rPr>
              <a:t>2</a:t>
            </a:r>
            <a:endParaRPr sz="90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8919211" y="3914248"/>
            <a:ext cx="69250" cy="1791653"/>
          </a:xfrm>
          <a:prstGeom prst="rect">
            <a:avLst/>
          </a:prstGeom>
        </p:spPr>
        <p:txBody>
          <a:bodyPr vert="vert270" wrap="square" lIns="0" tIns="2858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23"/>
              </a:spcBef>
            </a:pPr>
            <a:r>
              <a:rPr sz="450" dirty="0">
                <a:latin typeface="Times New Roman"/>
                <a:cs typeface="Times New Roman"/>
              </a:rPr>
              <a:t>Downloaded</a:t>
            </a:r>
            <a:r>
              <a:rPr sz="450" spc="-15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By: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Pursell,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John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H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-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27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ug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2024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15:12:14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UTC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-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EC: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spc="-8" dirty="0">
                <a:latin typeface="Times New Roman"/>
                <a:cs typeface="Times New Roman"/>
              </a:rPr>
              <a:t>9E991</a:t>
            </a:r>
            <a:endParaRPr sz="450"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046750" y="1009229"/>
            <a:ext cx="69250" cy="4696301"/>
          </a:xfrm>
          <a:prstGeom prst="rect">
            <a:avLst/>
          </a:prstGeom>
        </p:spPr>
        <p:txBody>
          <a:bodyPr vert="vert270" wrap="square" lIns="0" tIns="2858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23"/>
              </a:spcBef>
            </a:pPr>
            <a:r>
              <a:rPr sz="450" dirty="0">
                <a:latin typeface="Times New Roman"/>
                <a:cs typeface="Times New Roman"/>
              </a:rPr>
              <a:t>The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export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classifications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(HEC/TEC)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in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his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watermark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supersed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ny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other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classification.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Document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is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restricted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per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pplicabl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export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laws.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Protected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under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FOIA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Exemption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4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nd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h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rad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Secrets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spc="-15" dirty="0">
                <a:latin typeface="Times New Roman"/>
                <a:cs typeface="Times New Roman"/>
              </a:rPr>
              <a:t>Act.</a:t>
            </a:r>
            <a:endParaRPr sz="450">
              <a:latin typeface="Times New Roman"/>
              <a:cs typeface="Times New Roman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C124EFF-6314-46DE-BEB3-C0128436D7C9}"/>
              </a:ext>
            </a:extLst>
          </p:cNvPr>
          <p:cNvGrpSpPr/>
          <p:nvPr/>
        </p:nvGrpSpPr>
        <p:grpSpPr>
          <a:xfrm>
            <a:off x="289798" y="2381209"/>
            <a:ext cx="8029360" cy="3914960"/>
            <a:chOff x="363404" y="2622851"/>
            <a:chExt cx="8029360" cy="3914960"/>
          </a:xfrm>
        </p:grpSpPr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228524" y="2626632"/>
              <a:ext cx="3164240" cy="3530098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B966D60-B48F-491B-1A92-A951B74BD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3404" y="2622851"/>
              <a:ext cx="4208477" cy="3914960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5F4B3FDC-159E-A03B-BC7F-68284758168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27997" y="5150714"/>
              <a:ext cx="1510710" cy="571500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50814659-1084-92EF-9ABA-86C4939AEC98}"/>
              </a:ext>
            </a:extLst>
          </p:cNvPr>
          <p:cNvSpPr/>
          <p:nvPr/>
        </p:nvSpPr>
        <p:spPr>
          <a:xfrm>
            <a:off x="6522626" y="2730421"/>
            <a:ext cx="398482" cy="47653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F03A496-7F55-5336-DA53-7CACB8510E44}"/>
              </a:ext>
            </a:extLst>
          </p:cNvPr>
          <p:cNvSpPr/>
          <p:nvPr/>
        </p:nvSpPr>
        <p:spPr>
          <a:xfrm>
            <a:off x="6501011" y="5701515"/>
            <a:ext cx="442292" cy="41065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3A04B0-7B79-46F3-BF0A-D5F872B112C1}"/>
              </a:ext>
            </a:extLst>
          </p:cNvPr>
          <p:cNvSpPr>
            <a:spLocks noGrp="1"/>
          </p:cNvSpPr>
          <p:nvPr>
            <p:ph type="ftr" sz="quarter" idx="5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57033" y="667253"/>
            <a:ext cx="8518778" cy="2594941"/>
          </a:xfrm>
          <a:prstGeom prst="rect">
            <a:avLst/>
          </a:prstGeom>
        </p:spPr>
        <p:txBody>
          <a:bodyPr vert="horz" wrap="square" lIns="0" tIns="9525" rIns="0" bIns="0" rtlCol="0" anchor="t">
            <a:spAutoFit/>
          </a:bodyPr>
          <a:lstStyle/>
          <a:p>
            <a:pPr marL="9525">
              <a:lnSpc>
                <a:spcPct val="100000"/>
              </a:lnSpc>
              <a:spcBef>
                <a:spcPts val="75"/>
              </a:spcBef>
            </a:pPr>
            <a:r>
              <a:rPr lang="en-US" b="1" spc="-8" dirty="0">
                <a:latin typeface="Arial"/>
                <a:cs typeface="Arial"/>
              </a:rPr>
              <a:t>Background</a:t>
            </a:r>
            <a:endParaRPr lang="en-US" sz="1350" dirty="0">
              <a:latin typeface="Arial"/>
              <a:cs typeface="Arial"/>
            </a:endParaRPr>
          </a:p>
          <a:p>
            <a:pPr marL="266065" indent="-256540">
              <a:lnSpc>
                <a:spcPct val="100000"/>
              </a:lnSpc>
              <a:buChar char="•"/>
              <a:tabLst>
                <a:tab pos="266224" algn="l"/>
              </a:tabLst>
            </a:pPr>
            <a:r>
              <a:rPr lang="en-US" sz="1600" spc="-8" dirty="0">
                <a:latin typeface="Arial"/>
                <a:cs typeface="Arial"/>
              </a:rPr>
              <a:t>Created in 1943 by the Hi-Shear company</a:t>
            </a:r>
          </a:p>
          <a:p>
            <a:pPr marL="266065" indent="-256540">
              <a:lnSpc>
                <a:spcPct val="100000"/>
              </a:lnSpc>
              <a:buChar char="•"/>
              <a:tabLst>
                <a:tab pos="266224" algn="l"/>
              </a:tabLst>
            </a:pPr>
            <a:r>
              <a:rPr lang="en-US" sz="1600" spc="-8" dirty="0">
                <a:latin typeface="Arial"/>
                <a:cs typeface="Arial"/>
              </a:rPr>
              <a:t>First used on the North American P51 Mustang</a:t>
            </a:r>
          </a:p>
          <a:p>
            <a:pPr marL="266065" indent="-256540">
              <a:lnSpc>
                <a:spcPct val="100000"/>
              </a:lnSpc>
              <a:buChar char="•"/>
              <a:tabLst>
                <a:tab pos="266224" algn="l"/>
              </a:tabLst>
            </a:pPr>
            <a:r>
              <a:rPr lang="en-US" sz="1600" spc="-8" dirty="0">
                <a:latin typeface="Arial"/>
                <a:cs typeface="Arial"/>
              </a:rPr>
              <a:t>Allows for one-side installation and pre-load control – no torque wrench required</a:t>
            </a:r>
          </a:p>
          <a:p>
            <a:pPr marL="266065" indent="-256540">
              <a:lnSpc>
                <a:spcPct val="100000"/>
              </a:lnSpc>
              <a:buChar char="•"/>
              <a:tabLst>
                <a:tab pos="266224" algn="l"/>
              </a:tabLst>
            </a:pPr>
            <a:r>
              <a:rPr lang="en-US" sz="1600" spc="-8" dirty="0">
                <a:latin typeface="Arial"/>
                <a:cs typeface="Arial"/>
              </a:rPr>
              <a:t>Works well in restricted access applications</a:t>
            </a:r>
          </a:p>
          <a:p>
            <a:pPr marL="266065" indent="-256540">
              <a:lnSpc>
                <a:spcPct val="100000"/>
              </a:lnSpc>
              <a:buClr>
                <a:srgbClr val="FF0000"/>
              </a:buClr>
              <a:buChar char="•"/>
              <a:tabLst>
                <a:tab pos="266224" algn="l"/>
              </a:tabLst>
            </a:pPr>
            <a:endParaRPr lang="en-US" spc="-8" dirty="0">
              <a:latin typeface="Arial"/>
              <a:cs typeface="Arial"/>
            </a:endParaRPr>
          </a:p>
          <a:p>
            <a:pPr marL="9525">
              <a:lnSpc>
                <a:spcPct val="100000"/>
              </a:lnSpc>
              <a:buClr>
                <a:srgbClr val="FF0000"/>
              </a:buClr>
              <a:tabLst>
                <a:tab pos="266224" algn="l"/>
              </a:tabLst>
            </a:pPr>
            <a:r>
              <a:rPr lang="en-US" b="1" spc="-8" dirty="0">
                <a:latin typeface="Arial"/>
                <a:cs typeface="Arial"/>
              </a:rPr>
              <a:t>Field Observations</a:t>
            </a:r>
          </a:p>
          <a:p>
            <a:pPr marL="223520" indent="-213995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66224" algn="l"/>
              </a:tabLst>
            </a:pPr>
            <a:r>
              <a:rPr lang="en-US" sz="1600" spc="-8" dirty="0">
                <a:latin typeface="Arial"/>
                <a:cs typeface="Arial"/>
              </a:rPr>
              <a:t>Missing, loose or “nested” Hi-</a:t>
            </a:r>
            <a:r>
              <a:rPr lang="en-US" sz="1600" spc="-8" dirty="0" err="1">
                <a:latin typeface="Arial"/>
                <a:cs typeface="Arial"/>
              </a:rPr>
              <a:t>loks</a:t>
            </a:r>
            <a:r>
              <a:rPr lang="en-US" sz="1600" spc="-8" dirty="0">
                <a:latin typeface="Arial"/>
                <a:cs typeface="Arial"/>
              </a:rPr>
              <a:t> reported</a:t>
            </a:r>
          </a:p>
          <a:p>
            <a:pPr marL="223520" indent="-213995">
              <a:lnSpc>
                <a:spcPct val="100000"/>
              </a:lnSpc>
              <a:buFont typeface="Arial" panose="020B0604020202020204" pitchFamily="34" charset="0"/>
              <a:buChar char="•"/>
              <a:tabLst>
                <a:tab pos="266224" algn="l"/>
              </a:tabLst>
            </a:pPr>
            <a:r>
              <a:rPr lang="en-US" sz="1600" spc="-8" dirty="0">
                <a:latin typeface="Arial"/>
                <a:cs typeface="Arial"/>
              </a:rPr>
              <a:t>Appears to be more common on the AS907-2</a:t>
            </a:r>
          </a:p>
          <a:p>
            <a:pPr marL="223520" indent="-213995">
              <a:buFont typeface="Arial" panose="020B0604020202020204" pitchFamily="34" charset="0"/>
              <a:buChar char="•"/>
              <a:tabLst>
                <a:tab pos="266224" algn="l"/>
              </a:tabLst>
            </a:pPr>
            <a:r>
              <a:rPr lang="en-US" u="sng" spc="-8" dirty="0">
                <a:cs typeface="Arial"/>
              </a:rPr>
              <a:t>No operational issues reported </a:t>
            </a:r>
            <a:r>
              <a:rPr lang="en-US" spc="-8" dirty="0">
                <a:cs typeface="Arial"/>
              </a:rPr>
              <a:t>in conjunction with Hi-Lok condition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71475" y="192960"/>
            <a:ext cx="8401051" cy="332303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71"/>
              </a:spcBef>
            </a:pPr>
            <a:r>
              <a:rPr lang="en-US" dirty="0"/>
              <a:t>    FORWARD </a:t>
            </a:r>
            <a:r>
              <a:rPr dirty="0"/>
              <a:t>Outer</a:t>
            </a:r>
            <a:r>
              <a:rPr spc="-60" dirty="0"/>
              <a:t> </a:t>
            </a:r>
            <a:r>
              <a:rPr dirty="0"/>
              <a:t>Bypass</a:t>
            </a:r>
            <a:r>
              <a:rPr spc="-26" dirty="0"/>
              <a:t> </a:t>
            </a:r>
            <a:r>
              <a:rPr spc="-8" dirty="0"/>
              <a:t>Hi-</a:t>
            </a:r>
            <a:r>
              <a:rPr dirty="0"/>
              <a:t>Lok</a:t>
            </a:r>
            <a:r>
              <a:rPr spc="-56" dirty="0"/>
              <a:t> </a:t>
            </a:r>
            <a:r>
              <a:rPr dirty="0"/>
              <a:t>Bleed</a:t>
            </a:r>
            <a:r>
              <a:rPr spc="-56" dirty="0"/>
              <a:t> </a:t>
            </a:r>
            <a:r>
              <a:rPr dirty="0"/>
              <a:t>Boss</a:t>
            </a:r>
            <a:r>
              <a:rPr spc="-60" dirty="0"/>
              <a:t> </a:t>
            </a:r>
            <a:r>
              <a:rPr spc="-8" dirty="0"/>
              <a:t>Issue</a:t>
            </a:r>
          </a:p>
        </p:txBody>
      </p:sp>
      <p:sp>
        <p:nvSpPr>
          <p:cNvPr id="9" name="object 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">
              <a:lnSpc>
                <a:spcPts val="930"/>
              </a:lnSpc>
            </a:pPr>
            <a:fld id="{81D60167-4931-47E6-BA6A-407CBD079E47}" type="slidenum">
              <a:rPr spc="-19" dirty="0"/>
              <a:pPr marL="28575">
                <a:lnSpc>
                  <a:spcPts val="930"/>
                </a:lnSpc>
              </a:pPr>
              <a:t>2</a:t>
            </a:fld>
            <a:endParaRPr spc="-19" dirty="0"/>
          </a:p>
        </p:txBody>
      </p:sp>
      <p:sp>
        <p:nvSpPr>
          <p:cNvPr id="7" name="object 7"/>
          <p:cNvSpPr txBox="1"/>
          <p:nvPr/>
        </p:nvSpPr>
        <p:spPr>
          <a:xfrm>
            <a:off x="8919211" y="3914248"/>
            <a:ext cx="69250" cy="1791653"/>
          </a:xfrm>
          <a:prstGeom prst="rect">
            <a:avLst/>
          </a:prstGeom>
        </p:spPr>
        <p:txBody>
          <a:bodyPr vert="vert270" wrap="square" lIns="0" tIns="2858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23"/>
              </a:spcBef>
            </a:pPr>
            <a:r>
              <a:rPr sz="450" dirty="0">
                <a:latin typeface="Times New Roman"/>
                <a:cs typeface="Times New Roman"/>
              </a:rPr>
              <a:t>Downloaded</a:t>
            </a:r>
            <a:r>
              <a:rPr sz="450" spc="-15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By: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Pursell,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John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H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-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27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ug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2024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15:12:14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UTC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-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EC: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spc="-8" dirty="0">
                <a:latin typeface="Times New Roman"/>
                <a:cs typeface="Times New Roman"/>
              </a:rPr>
              <a:t>9E991</a:t>
            </a:r>
            <a:endParaRPr sz="450">
              <a:latin typeface="Times New Roman"/>
              <a:cs typeface="Times New Roma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046750" y="1009229"/>
            <a:ext cx="69250" cy="4696301"/>
          </a:xfrm>
          <a:prstGeom prst="rect">
            <a:avLst/>
          </a:prstGeom>
        </p:spPr>
        <p:txBody>
          <a:bodyPr vert="vert270" wrap="square" lIns="0" tIns="2858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23"/>
              </a:spcBef>
            </a:pPr>
            <a:r>
              <a:rPr sz="450" dirty="0">
                <a:latin typeface="Times New Roman"/>
                <a:cs typeface="Times New Roman"/>
              </a:rPr>
              <a:t>The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export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classifications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(HEC/TEC)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in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his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watermark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supersed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ny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other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classification.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Document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is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restricted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per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pplicabl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export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laws.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Protected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under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FOIA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Exemption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4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nd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h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rad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Secrets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spc="-15" dirty="0">
                <a:latin typeface="Times New Roman"/>
                <a:cs typeface="Times New Roman"/>
              </a:rPr>
              <a:t>Act.</a:t>
            </a:r>
            <a:endParaRPr sz="450">
              <a:latin typeface="Times New Roman"/>
              <a:cs typeface="Times New Roman"/>
            </a:endParaRPr>
          </a:p>
        </p:txBody>
      </p:sp>
      <p:pic>
        <p:nvPicPr>
          <p:cNvPr id="1029" name="Picture 5" descr="Advances in rivet technology for Aircraft? - Aviation Stack Exchange">
            <a:extLst>
              <a:ext uri="{FF2B5EF4-FFF2-40B4-BE49-F238E27FC236}">
                <a16:creationId xmlns:a16="http://schemas.microsoft.com/office/drawing/2014/main" id="{6B0C6D54-B941-C78A-6EF9-832D18ECCE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955" y="1767012"/>
            <a:ext cx="1771005" cy="1782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7ABD8BE8-9229-49D9-A1F9-B2215C465C40}"/>
              </a:ext>
            </a:extLst>
          </p:cNvPr>
          <p:cNvGrpSpPr/>
          <p:nvPr/>
        </p:nvGrpSpPr>
        <p:grpSpPr>
          <a:xfrm>
            <a:off x="371475" y="3936431"/>
            <a:ext cx="7353689" cy="2453929"/>
            <a:chOff x="373928" y="3666735"/>
            <a:chExt cx="7353689" cy="2453929"/>
          </a:xfrm>
        </p:grpSpPr>
        <p:pic>
          <p:nvPicPr>
            <p:cNvPr id="12" name="object 8">
              <a:extLst>
                <a:ext uri="{FF2B5EF4-FFF2-40B4-BE49-F238E27FC236}">
                  <a16:creationId xmlns:a16="http://schemas.microsoft.com/office/drawing/2014/main" id="{04E740C1-C06A-F6E3-BD52-4F8AB69EEC3A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73928" y="3670016"/>
              <a:ext cx="2210267" cy="2450648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pic>
          <p:nvPicPr>
            <p:cNvPr id="13" name="object 7">
              <a:extLst>
                <a:ext uri="{FF2B5EF4-FFF2-40B4-BE49-F238E27FC236}">
                  <a16:creationId xmlns:a16="http://schemas.microsoft.com/office/drawing/2014/main" id="{E08DD814-4B5A-2CD0-3C6D-8F8AB9EE79F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817075" y="3670016"/>
              <a:ext cx="1394543" cy="2450648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  <p:pic>
          <p:nvPicPr>
            <p:cNvPr id="14" name="object 4">
              <a:extLst>
                <a:ext uri="{FF2B5EF4-FFF2-40B4-BE49-F238E27FC236}">
                  <a16:creationId xmlns:a16="http://schemas.microsoft.com/office/drawing/2014/main" id="{7DDA5F98-9DCF-A5D1-FDA0-1DC69089BC89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514470" y="3666735"/>
              <a:ext cx="3213147" cy="2450758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</p:pic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C721E8-6298-4312-B5E9-71FDFFE573CA}"/>
              </a:ext>
            </a:extLst>
          </p:cNvPr>
          <p:cNvSpPr>
            <a:spLocks noGrp="1"/>
          </p:cNvSpPr>
          <p:nvPr>
            <p:ph type="ftr" sz="quarter" idx="5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Honeywell Internal</a:t>
            </a:r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">
              <a:lnSpc>
                <a:spcPts val="930"/>
              </a:lnSpc>
            </a:pPr>
            <a:fld id="{81D60167-4931-47E6-BA6A-407CBD079E47}" type="slidenum">
              <a:rPr spc="-19" dirty="0"/>
              <a:pPr marL="28575">
                <a:lnSpc>
                  <a:spcPts val="930"/>
                </a:lnSpc>
              </a:pPr>
              <a:t>3</a:t>
            </a:fld>
            <a:endParaRPr spc="-19" dirty="0"/>
          </a:p>
        </p:txBody>
      </p:sp>
      <p:sp>
        <p:nvSpPr>
          <p:cNvPr id="2" name="object 2"/>
          <p:cNvSpPr txBox="1">
            <a:spLocks noGrp="1"/>
          </p:cNvSpPr>
          <p:nvPr>
            <p:ph type="body" idx="1"/>
          </p:nvPr>
        </p:nvSpPr>
        <p:spPr>
          <a:xfrm>
            <a:off x="271324" y="921613"/>
            <a:ext cx="7761923" cy="2169184"/>
          </a:xfrm>
          <a:prstGeom prst="rect">
            <a:avLst/>
          </a:prstGeom>
        </p:spPr>
        <p:txBody>
          <a:bodyPr vert="horz" wrap="square" lIns="0" tIns="9525" rIns="0" bIns="0" rtlCol="0" anchor="t">
            <a:spAutoFit/>
          </a:bodyPr>
          <a:lstStyle/>
          <a:p>
            <a:pPr marL="9525">
              <a:lnSpc>
                <a:spcPct val="100000"/>
              </a:lnSpc>
              <a:spcBef>
                <a:spcPts val="75"/>
              </a:spcBef>
            </a:pPr>
            <a:r>
              <a:rPr lang="en-US" sz="1800" dirty="0"/>
              <a:t>Action</a:t>
            </a:r>
            <a:endParaRPr lang="en-US" sz="1800" spc="-8" dirty="0"/>
          </a:p>
          <a:p>
            <a:pPr marL="266065" indent="-256540">
              <a:lnSpc>
                <a:spcPct val="100000"/>
              </a:lnSpc>
              <a:buChar char="•"/>
              <a:tabLst>
                <a:tab pos="266224" algn="l"/>
              </a:tabLst>
            </a:pPr>
            <a:r>
              <a:rPr lang="en-US" sz="1600" b="0" dirty="0">
                <a:latin typeface="Arial"/>
                <a:cs typeface="Arial"/>
              </a:rPr>
              <a:t>Working with GKN to determine cause and identify corrective action</a:t>
            </a:r>
          </a:p>
          <a:p>
            <a:pPr marL="266065" indent="-256540">
              <a:lnSpc>
                <a:spcPct val="100000"/>
              </a:lnSpc>
              <a:buChar char="•"/>
              <a:tabLst>
                <a:tab pos="266224" algn="l"/>
              </a:tabLst>
            </a:pPr>
            <a:r>
              <a:rPr lang="en-US" sz="1600" b="0" dirty="0"/>
              <a:t>Revising LMMs to outline allowable quantity of loose / missing Hi-</a:t>
            </a:r>
            <a:r>
              <a:rPr lang="en-US" sz="1600" b="0" dirty="0" err="1"/>
              <a:t>Loks</a:t>
            </a:r>
            <a:endParaRPr lang="en-US" sz="1600" b="0" dirty="0"/>
          </a:p>
          <a:p>
            <a:pPr marL="566420" lvl="1" indent="-213995">
              <a:buClrTx/>
              <a:buFontTx/>
              <a:buChar char="-"/>
              <a:tabLst>
                <a:tab pos="266224" algn="l"/>
              </a:tabLst>
            </a:pPr>
            <a:r>
              <a:rPr lang="en-US" sz="1400" dirty="0">
                <a:latin typeface="Arial"/>
                <a:cs typeface="Arial"/>
              </a:rPr>
              <a:t>Will include a built in “fly-on” to schedule maintenance</a:t>
            </a:r>
            <a:endParaRPr sz="1800" b="0" spc="-19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065" indent="-256540">
              <a:lnSpc>
                <a:spcPct val="100000"/>
              </a:lnSpc>
              <a:buChar char="•"/>
              <a:tabLst>
                <a:tab pos="266224" algn="l"/>
              </a:tabLst>
            </a:pPr>
            <a:r>
              <a:rPr lang="en-US" sz="1600" b="0" dirty="0">
                <a:latin typeface="Arial"/>
                <a:cs typeface="Arial"/>
              </a:rPr>
              <a:t>Developing a field repair in order allow continued operation </a:t>
            </a:r>
            <a:endParaRPr lang="en-US" sz="1600" b="0" spc="-8" dirty="0"/>
          </a:p>
          <a:p>
            <a:pPr marL="266065" indent="-256540">
              <a:buChar char="•"/>
              <a:tabLst>
                <a:tab pos="266224" algn="l"/>
              </a:tabLst>
            </a:pPr>
            <a:r>
              <a:rPr lang="en-US" sz="1600" b="0" spc="-8" dirty="0">
                <a:latin typeface="Arial"/>
                <a:cs typeface="Arial"/>
              </a:rPr>
              <a:t>Will be </a:t>
            </a:r>
            <a:r>
              <a:rPr lang="en-US" sz="1600" b="0" spc="-8" dirty="0"/>
              <a:t>introduced </a:t>
            </a:r>
            <a:r>
              <a:rPr lang="en-US" sz="1600" b="0" spc="-8" dirty="0">
                <a:latin typeface="Arial"/>
                <a:cs typeface="Arial"/>
              </a:rPr>
              <a:t>via service bulletin – Target Q4 2024</a:t>
            </a:r>
            <a:endParaRPr sz="1600" b="0" spc="-8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8"/>
              </a:spcBef>
              <a:buClr>
                <a:srgbClr val="FF0000"/>
              </a:buClr>
              <a:buFont typeface="Arial"/>
              <a:buChar char="•"/>
            </a:pPr>
            <a:endParaRPr b="0" spc="-8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105963" y="6120341"/>
            <a:ext cx="2092643" cy="24812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75"/>
              </a:spcBef>
            </a:pPr>
            <a:r>
              <a:rPr sz="1500" b="1" dirty="0">
                <a:latin typeface="Arial"/>
                <a:cs typeface="Arial"/>
              </a:rPr>
              <a:t>Questions</a:t>
            </a:r>
            <a:r>
              <a:rPr sz="1500" b="1" spc="-30" dirty="0">
                <a:latin typeface="Arial"/>
                <a:cs typeface="Arial"/>
              </a:rPr>
              <a:t> </a:t>
            </a:r>
            <a:r>
              <a:rPr sz="1500" b="1" dirty="0">
                <a:latin typeface="Arial"/>
                <a:cs typeface="Arial"/>
              </a:rPr>
              <a:t>/</a:t>
            </a:r>
            <a:r>
              <a:rPr sz="1500" b="1" spc="-19" dirty="0">
                <a:latin typeface="Arial"/>
                <a:cs typeface="Arial"/>
              </a:rPr>
              <a:t> </a:t>
            </a:r>
            <a:r>
              <a:rPr sz="1500" b="1" spc="-8" dirty="0">
                <a:latin typeface="Arial"/>
                <a:cs typeface="Arial"/>
              </a:rPr>
              <a:t>Comments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275208" y="343404"/>
            <a:ext cx="8128399" cy="332303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71"/>
              </a:spcBef>
            </a:pPr>
            <a:r>
              <a:rPr lang="en-US" dirty="0"/>
              <a:t>    FORWARD </a:t>
            </a:r>
            <a:r>
              <a:rPr dirty="0"/>
              <a:t>Outer</a:t>
            </a:r>
            <a:r>
              <a:rPr spc="-60" dirty="0"/>
              <a:t> </a:t>
            </a:r>
            <a:r>
              <a:rPr dirty="0"/>
              <a:t>Bypass</a:t>
            </a:r>
            <a:r>
              <a:rPr spc="-26" dirty="0"/>
              <a:t> </a:t>
            </a:r>
            <a:r>
              <a:rPr spc="-8" dirty="0"/>
              <a:t>Hi-</a:t>
            </a:r>
            <a:r>
              <a:rPr dirty="0"/>
              <a:t>Lok</a:t>
            </a:r>
            <a:r>
              <a:rPr spc="-56" dirty="0"/>
              <a:t> </a:t>
            </a:r>
            <a:r>
              <a:rPr dirty="0"/>
              <a:t>Bleed</a:t>
            </a:r>
            <a:r>
              <a:rPr spc="-56" dirty="0"/>
              <a:t> </a:t>
            </a:r>
            <a:r>
              <a:rPr dirty="0"/>
              <a:t>Boss</a:t>
            </a:r>
            <a:r>
              <a:rPr spc="-60" dirty="0"/>
              <a:t> </a:t>
            </a:r>
            <a:r>
              <a:rPr spc="-8" dirty="0"/>
              <a:t>Issue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8919211" y="3914248"/>
            <a:ext cx="69250" cy="1791653"/>
          </a:xfrm>
          <a:prstGeom prst="rect">
            <a:avLst/>
          </a:prstGeom>
        </p:spPr>
        <p:txBody>
          <a:bodyPr vert="vert270" wrap="square" lIns="0" tIns="2858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23"/>
              </a:spcBef>
            </a:pPr>
            <a:r>
              <a:rPr sz="450" dirty="0">
                <a:latin typeface="Times New Roman"/>
                <a:cs typeface="Times New Roman"/>
              </a:rPr>
              <a:t>Downloaded</a:t>
            </a:r>
            <a:r>
              <a:rPr sz="450" spc="-15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By: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Pursell,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John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H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-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27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ug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2024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15:12:14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UTC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-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EC: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spc="-8" dirty="0">
                <a:latin typeface="Times New Roman"/>
                <a:cs typeface="Times New Roman"/>
              </a:rPr>
              <a:t>9E991</a:t>
            </a:r>
            <a:endParaRPr sz="450">
              <a:latin typeface="Times New Roman"/>
              <a:cs typeface="Times New Roman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046750" y="1009229"/>
            <a:ext cx="69250" cy="4696301"/>
          </a:xfrm>
          <a:prstGeom prst="rect">
            <a:avLst/>
          </a:prstGeom>
        </p:spPr>
        <p:txBody>
          <a:bodyPr vert="vert270" wrap="square" lIns="0" tIns="2858" rIns="0" bIns="0" rtlCol="0">
            <a:spAutoFit/>
          </a:bodyPr>
          <a:lstStyle/>
          <a:p>
            <a:pPr marL="9525">
              <a:lnSpc>
                <a:spcPct val="100000"/>
              </a:lnSpc>
              <a:spcBef>
                <a:spcPts val="23"/>
              </a:spcBef>
            </a:pPr>
            <a:r>
              <a:rPr sz="450" dirty="0">
                <a:latin typeface="Times New Roman"/>
                <a:cs typeface="Times New Roman"/>
              </a:rPr>
              <a:t>The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export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classifications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(HEC/TEC)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in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his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watermark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supersed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ny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other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classification.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Document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is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restricted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per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pplicabl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export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laws.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Protected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under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FOIA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Exemption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4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and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h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Trade</a:t>
            </a:r>
            <a:r>
              <a:rPr sz="450" spc="-8" dirty="0">
                <a:latin typeface="Times New Roman"/>
                <a:cs typeface="Times New Roman"/>
              </a:rPr>
              <a:t> </a:t>
            </a:r>
            <a:r>
              <a:rPr sz="450" dirty="0">
                <a:latin typeface="Times New Roman"/>
                <a:cs typeface="Times New Roman"/>
              </a:rPr>
              <a:t>Secrets</a:t>
            </a:r>
            <a:r>
              <a:rPr sz="450" spc="-11" dirty="0">
                <a:latin typeface="Times New Roman"/>
                <a:cs typeface="Times New Roman"/>
              </a:rPr>
              <a:t> </a:t>
            </a:r>
            <a:r>
              <a:rPr sz="450" spc="-15" dirty="0">
                <a:latin typeface="Times New Roman"/>
                <a:cs typeface="Times New Roman"/>
              </a:rPr>
              <a:t>Act.</a:t>
            </a:r>
            <a:endParaRPr sz="450">
              <a:latin typeface="Times New Roman"/>
              <a:cs typeface="Times New Roman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19438C-87D6-16D0-1E01-F2A7E34872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6626" y="3429000"/>
            <a:ext cx="2491318" cy="2353138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94F092-6359-403C-A82B-D859E740B4EF}"/>
              </a:ext>
            </a:extLst>
          </p:cNvPr>
          <p:cNvSpPr>
            <a:spLocks noGrp="1"/>
          </p:cNvSpPr>
          <p:nvPr>
            <p:ph type="ftr" sz="quarter" idx="5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sa9x3VQ68rPHEqmxHY_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iR8j.2IS0ACQX.YAv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Honeywell 2019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400" dirty="0" err="1" smtClean="0">
            <a:solidFill>
              <a:prstClr val="black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6" id="{F34E4ED3-4A14-42A3-9CB6-EE01862AD625}" vid="{64674C84-1CE9-434C-875F-14533CD9CF8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3af126-92eb-4bb5-8bfd-1661103a2928" xsi:nil="true"/>
    <lcf76f155ced4ddcb4097134ff3c332f xmlns="5c9ad062-aa00-492d-a75b-e00dca3b3d0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34FE2A5FCB4A40879E88ECF8489FD4" ma:contentTypeVersion="16" ma:contentTypeDescription="Create a new document." ma:contentTypeScope="" ma:versionID="2d6054e718a6b3d49ddabad75901d3f1">
  <xsd:schema xmlns:xsd="http://www.w3.org/2001/XMLSchema" xmlns:xs="http://www.w3.org/2001/XMLSchema" xmlns:p="http://schemas.microsoft.com/office/2006/metadata/properties" xmlns:ns2="5c9ad062-aa00-492d-a75b-e00dca3b3d0f" xmlns:ns3="0dab3b79-5a11-4a79-9b08-3bd2d79ac80f" xmlns:ns4="213af126-92eb-4bb5-8bfd-1661103a2928" targetNamespace="http://schemas.microsoft.com/office/2006/metadata/properties" ma:root="true" ma:fieldsID="5b1465dfc66d7d380ed0c709667da3b6" ns2:_="" ns3:_="" ns4:_="">
    <xsd:import namespace="5c9ad062-aa00-492d-a75b-e00dca3b3d0f"/>
    <xsd:import namespace="0dab3b79-5a11-4a79-9b08-3bd2d79ac80f"/>
    <xsd:import namespace="213af126-92eb-4bb5-8bfd-1661103a29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9ad062-aa00-492d-a75b-e00dca3b3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ab3b79-5a11-4a79-9b08-3bd2d79ac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af126-92eb-4bb5-8bfd-1661103a292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c8bf28e-e1e2-4321-b4d7-8a8cbe31736a}" ma:internalName="TaxCatchAll" ma:showField="CatchAllData" ma:web="0dab3b79-5a11-4a79-9b08-3bd2d79ac8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sisl xmlns:xsd="http://www.w3.org/2001/XMLSchema" xmlns:xsi="http://www.w3.org/2001/XMLSchema-instance" xmlns="http://www.boldonjames.com/2008/01/sie/internal/label" sislVersion="0" policy="bf276872-af07-4968-a71d-1c83e80bd0bf" origin="userSelected">
  <element uid="id_protectivemarking_protect" value=""/>
</sisl>
</file>

<file path=customXml/itemProps1.xml><?xml version="1.0" encoding="utf-8"?>
<ds:datastoreItem xmlns:ds="http://schemas.openxmlformats.org/officeDocument/2006/customXml" ds:itemID="{886891B1-8FEE-4CAA-A633-6350205EC11B}">
  <ds:schemaRefs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0dab3b79-5a11-4a79-9b08-3bd2d79ac80f"/>
    <ds:schemaRef ds:uri="213af126-92eb-4bb5-8bfd-1661103a2928"/>
    <ds:schemaRef ds:uri="5c9ad062-aa00-492d-a75b-e00dca3b3d0f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3216B17-20C9-4BDA-A240-55569DD4854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6D51AB3-40F2-4E44-B6B1-B5ED7BC2AC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9ad062-aa00-492d-a75b-e00dca3b3d0f"/>
    <ds:schemaRef ds:uri="0dab3b79-5a11-4a79-9b08-3bd2d79ac80f"/>
    <ds:schemaRef ds:uri="213af126-92eb-4bb5-8bfd-1661103a29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2C6B1BF-52F1-4437-9E52-E0901B96A2BA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</TotalTime>
  <Words>378</Words>
  <Application>Microsoft Office PowerPoint</Application>
  <PresentationFormat>On-screen Show (4:3)</PresentationFormat>
  <Paragraphs>48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Times New Roman</vt:lpstr>
      <vt:lpstr>Wingdings</vt:lpstr>
      <vt:lpstr>Honeywell 2019</vt:lpstr>
      <vt:lpstr>Office Theme</vt:lpstr>
      <vt:lpstr>think-cell Slide</vt:lpstr>
      <vt:lpstr>PowerPoint Presentation</vt:lpstr>
      <vt:lpstr>    FORWARD Outer Bypass Hi-Lok Bleed Boss Issue</vt:lpstr>
      <vt:lpstr>    FORWARD Outer Bypass Hi-Lok Bleed Boss Issue</vt:lpstr>
      <vt:lpstr>    FORWARD Outer Bypass Hi-Lok Bleed Boss Issue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20</dc:title>
  <dc:creator>Baid, Sumit</dc:creator>
  <cp:lastModifiedBy>Souther, Tyler</cp:lastModifiedBy>
  <cp:revision>139</cp:revision>
  <dcterms:created xsi:type="dcterms:W3CDTF">2020-01-07T13:32:20Z</dcterms:created>
  <dcterms:modified xsi:type="dcterms:W3CDTF">2024-10-29T22:1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34FE2A5FCB4A40879E88ECF8489FD4</vt:lpwstr>
  </property>
  <property fmtid="{D5CDD505-2E9C-101B-9397-08002B2CF9AE}" pid="3" name="MSIP_Label_d546e5e1-5d42-4630-bacd-c69bfdcbd5e8_SetDate">
    <vt:lpwstr>2022-04-15T12:37:10Z</vt:lpwstr>
  </property>
  <property fmtid="{D5CDD505-2E9C-101B-9397-08002B2CF9AE}" pid="4" name="MSIP_Label_d546e5e1-5d42-4630-bacd-c69bfdcbd5e8_ContentBits">
    <vt:lpwstr>0</vt:lpwstr>
  </property>
  <property fmtid="{D5CDD505-2E9C-101B-9397-08002B2CF9AE}" pid="5" name="MSIP_Label_d546e5e1-5d42-4630-bacd-c69bfdcbd5e8_Name">
    <vt:lpwstr>d546e5e1-5d42-4630-bacd-c69bfdcbd5e8</vt:lpwstr>
  </property>
  <property fmtid="{D5CDD505-2E9C-101B-9397-08002B2CF9AE}" pid="6" name="MSIP_Label_d546e5e1-5d42-4630-bacd-c69bfdcbd5e8_ActionId">
    <vt:lpwstr>4f9a9118-6f08-490b-a3b6-fc43747c7100</vt:lpwstr>
  </property>
  <property fmtid="{D5CDD505-2E9C-101B-9397-08002B2CF9AE}" pid="7" name="MSIP_Label_d546e5e1-5d42-4630-bacd-c69bfdcbd5e8_SiteId">
    <vt:lpwstr>96ece526-9c7d-48b0-8daf-8b93c90a5d18</vt:lpwstr>
  </property>
  <property fmtid="{D5CDD505-2E9C-101B-9397-08002B2CF9AE}" pid="8" name="MSIP_Label_d546e5e1-5d42-4630-bacd-c69bfdcbd5e8_Method">
    <vt:lpwstr>Standard</vt:lpwstr>
  </property>
  <property fmtid="{D5CDD505-2E9C-101B-9397-08002B2CF9AE}" pid="9" name="MSIP_Label_d546e5e1-5d42-4630-bacd-c69bfdcbd5e8_Enabled">
    <vt:lpwstr>true</vt:lpwstr>
  </property>
  <property fmtid="{D5CDD505-2E9C-101B-9397-08002B2CF9AE}" pid="10" name="docIndexRef">
    <vt:lpwstr>1921a151-3045-4524-b53d-69a035c1b2a3</vt:lpwstr>
  </property>
  <property fmtid="{D5CDD505-2E9C-101B-9397-08002B2CF9AE}" pid="11" name="bjSaver">
    <vt:lpwstr>mCYE1o28gp3B82G0N8DpWAZnQvEb8WJM</vt:lpwstr>
  </property>
  <property fmtid="{D5CDD505-2E9C-101B-9397-08002B2CF9AE}" pid="12" name="bjDocumentLabelXML">
    <vt:lpwstr>&lt;?xml version="1.0" encoding="us-ascii"?&gt;&lt;sisl xmlns:xsd="http://www.w3.org/2001/XMLSchema" xmlns:xsi="http://www.w3.org/2001/XMLSchema-instance" sislVersion="0" policy="bf276872-af07-4968-a71d-1c83e80bd0bf" origin="userSelected" xmlns="http://www.boldonj</vt:lpwstr>
  </property>
  <property fmtid="{D5CDD505-2E9C-101B-9397-08002B2CF9AE}" pid="13" name="bjDocumentLabelXML-0">
    <vt:lpwstr>ames.com/2008/01/sie/internal/label"&gt;&lt;element uid="id_protectivemarking_protect" value="" /&gt;&lt;/sisl&gt;</vt:lpwstr>
  </property>
  <property fmtid="{D5CDD505-2E9C-101B-9397-08002B2CF9AE}" pid="14" name="bjDocumentSecurityLabel">
    <vt:lpwstr>Honeywell Internal</vt:lpwstr>
  </property>
  <property fmtid="{D5CDD505-2E9C-101B-9397-08002B2CF9AE}" pid="15" name="BJClassification">
    <vt:lpwstr>Honeywell Internal</vt:lpwstr>
  </property>
  <property fmtid="{D5CDD505-2E9C-101B-9397-08002B2CF9AE}" pid="16" name="bjSlideMasterFooterText">
    <vt:lpwstr>Honeywell Internal</vt:lpwstr>
  </property>
  <property fmtid="{D5CDD505-2E9C-101B-9397-08002B2CF9AE}" pid="17" name="MediaServiceImageTags">
    <vt:lpwstr/>
  </property>
</Properties>
</file>